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62" r:id="rId5"/>
    <p:sldMasterId id="2147483669" r:id="rId6"/>
  </p:sldMasterIdLst>
  <p:notesMasterIdLst>
    <p:notesMasterId r:id="rId15"/>
  </p:notesMasterIdLst>
  <p:sldIdLst>
    <p:sldId id="280" r:id="rId7"/>
    <p:sldId id="378" r:id="rId8"/>
    <p:sldId id="379" r:id="rId9"/>
    <p:sldId id="367" r:id="rId10"/>
    <p:sldId id="381" r:id="rId11"/>
    <p:sldId id="380" r:id="rId12"/>
    <p:sldId id="377" r:id="rId13"/>
    <p:sldId id="363" r:id="rId14"/>
  </p:sldIdLst>
  <p:sldSz cx="12801600" cy="9601200" type="A3"/>
  <p:notesSz cx="6797675" cy="9928225"/>
  <p:defaultTextStyle>
    <a:defPPr>
      <a:defRPr lang="ru-RU"/>
    </a:defPPr>
    <a:lvl1pPr marL="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1pPr>
    <a:lvl2pPr marL="64008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2pPr>
    <a:lvl3pPr marL="128016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3pPr>
    <a:lvl4pPr marL="192024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4pPr>
    <a:lvl5pPr marL="256032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5pPr>
    <a:lvl6pPr marL="320040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6pPr>
    <a:lvl7pPr marL="384048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7pPr>
    <a:lvl8pPr marL="448056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8pPr>
    <a:lvl9pPr marL="512064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FE51CF5A-24EE-4CD6-AD64-1B459B126982}">
          <p14:sldIdLst>
            <p14:sldId id="280"/>
            <p14:sldId id="378"/>
            <p14:sldId id="379"/>
            <p14:sldId id="367"/>
            <p14:sldId id="381"/>
            <p14:sldId id="380"/>
            <p14:sldId id="377"/>
            <p14:sldId id="36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24">
          <p15:clr>
            <a:srgbClr val="A4A3A4"/>
          </p15:clr>
        </p15:guide>
        <p15:guide id="2" pos="40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Люгай Светлана Ильинична" initials="ЛСИ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389"/>
    <a:srgbClr val="EDF6D6"/>
    <a:srgbClr val="BDD391"/>
    <a:srgbClr val="B2CB7F"/>
    <a:srgbClr val="FFF4D1"/>
    <a:srgbClr val="FFE9A3"/>
    <a:srgbClr val="E5F2C4"/>
    <a:srgbClr val="D4EA9E"/>
    <a:srgbClr val="F9AD6F"/>
    <a:srgbClr val="FFDC6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FECB4D8-DB02-4DC6-A0A2-4F2EBAE1DC90}" styleName="Средний стиль 1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Средний стиль 1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86" autoAdjust="0"/>
    <p:restoredTop sz="99833" autoAdjust="0"/>
  </p:normalViewPr>
  <p:slideViewPr>
    <p:cSldViewPr>
      <p:cViewPr varScale="1">
        <p:scale>
          <a:sx n="83" d="100"/>
          <a:sy n="83" d="100"/>
        </p:scale>
        <p:origin x="1860" y="90"/>
      </p:cViewPr>
      <p:guideLst>
        <p:guide orient="horz" pos="3024"/>
        <p:guide pos="4032"/>
      </p:guideLst>
    </p:cSldViewPr>
  </p:slid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200" d="100"/>
        <a:sy n="200" d="100"/>
      </p:scale>
      <p:origin x="0" y="-15414"/>
    </p:cViewPr>
  </p:sorterViewPr>
  <p:notesViewPr>
    <p:cSldViewPr>
      <p:cViewPr varScale="1">
        <p:scale>
          <a:sx n="59" d="100"/>
          <a:sy n="59" d="100"/>
        </p:scale>
        <p:origin x="3235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A19F954-02FF-4639-9249-FDE63878F5D2}" type="doc">
      <dgm:prSet loTypeId="urn:microsoft.com/office/officeart/2005/8/layout/hierarchy4" loCatId="list" qsTypeId="urn:microsoft.com/office/officeart/2005/8/quickstyle/simple1" qsCatId="simple" csTypeId="urn:microsoft.com/office/officeart/2005/8/colors/accent3_5" csCatId="accent3" phldr="1"/>
      <dgm:spPr/>
      <dgm:t>
        <a:bodyPr/>
        <a:lstStyle/>
        <a:p>
          <a:endParaRPr lang="ru-RU"/>
        </a:p>
      </dgm:t>
    </dgm:pt>
    <dgm:pt modelId="{321E4634-07A1-4136-9EF4-2904800F49F4}">
      <dgm:prSet phldrT="[Текст]" custT="1"/>
      <dgm:spPr>
        <a:solidFill>
          <a:srgbClr val="FFDC6D">
            <a:alpha val="89804"/>
          </a:srgbClr>
        </a:solidFill>
        <a:ln w="3175" cap="flat" cmpd="sng" algn="ctr">
          <a:solidFill>
            <a:srgbClr val="F79646">
              <a:lumMod val="50000"/>
            </a:srgbClr>
          </a:solidFill>
          <a:prstDash val="solid"/>
        </a:ln>
        <a:effectLst/>
      </dgm:spPr>
      <dgm:t>
        <a:bodyPr spcFirstLastPara="0" vert="horz" wrap="square" lIns="64770" tIns="64770" rIns="64770" bIns="64770" numCol="1" spcCol="1270" anchor="ctr" anchorCtr="0"/>
        <a:lstStyle/>
        <a:p>
          <a:pPr marL="0" lvl="0" indent="0" algn="ctr" defTabSz="7334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rgbClr val="EEECE1">
                  <a:lumMod val="25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Постановление Правительства РФ от 02.04.2020 </a:t>
          </a:r>
          <a:r>
            <a:rPr lang="ru-RU" sz="1800" b="1" kern="1200" dirty="0" smtClean="0">
              <a:solidFill>
                <a:srgbClr val="EEECE1">
                  <a:lumMod val="25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№ </a:t>
          </a:r>
          <a:r>
            <a:rPr lang="ru-RU" sz="1800" b="1" kern="1200" dirty="0">
              <a:solidFill>
                <a:srgbClr val="EEECE1">
                  <a:lumMod val="25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422 </a:t>
          </a:r>
          <a:endParaRPr lang="ru-RU" sz="1800" b="1" kern="1200" dirty="0" smtClean="0">
            <a:solidFill>
              <a:srgbClr val="EEECE1">
                <a:lumMod val="25000"/>
              </a:srgb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marL="0" lvl="0" indent="0" algn="ctr" defTabSz="7334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 smtClean="0">
              <a:solidFill>
                <a:srgbClr val="EEECE1">
                  <a:lumMod val="25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«Об </a:t>
          </a:r>
          <a:r>
            <a:rPr lang="ru-RU" sz="1800" b="1" kern="1200" dirty="0">
              <a:solidFill>
                <a:srgbClr val="EEECE1">
                  <a:lumMod val="25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утверждении Правил предоставления субсидий из федерального бюджета российским кредитным организациям на возмещение недополученных ими доходов по кредитам, выданным в 2020 году </a:t>
          </a:r>
          <a:r>
            <a:rPr lang="ru-RU" sz="1800" b="1" kern="1200" dirty="0" smtClean="0">
              <a:solidFill>
                <a:srgbClr val="EEECE1">
                  <a:lumMod val="25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юридическим лицам и индивидуальным предпринимателям </a:t>
          </a:r>
          <a:r>
            <a:rPr lang="ru-RU" sz="1800" b="1" kern="1200" dirty="0">
              <a:solidFill>
                <a:srgbClr val="EEECE1">
                  <a:lumMod val="25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на неотложные нужды для поддержки и сохранения </a:t>
          </a:r>
          <a:r>
            <a:rPr lang="ru-RU" sz="1800" b="1" kern="1200" dirty="0" smtClean="0">
              <a:solidFill>
                <a:srgbClr val="EEECE1">
                  <a:lumMod val="25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занятости»</a:t>
          </a:r>
          <a:endParaRPr lang="ru-RU" sz="1800" b="1" kern="1200" dirty="0">
            <a:solidFill>
              <a:srgbClr val="EEECE1">
                <a:lumMod val="25000"/>
              </a:srgb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C873D8DA-1ABF-4134-9CD5-4D3788720085}" type="parTrans" cxnId="{D08C5BBE-EBBC-468A-AAC8-4527176BBADF}">
      <dgm:prSet/>
      <dgm:spPr/>
      <dgm:t>
        <a:bodyPr/>
        <a:lstStyle/>
        <a:p>
          <a:endParaRPr lang="ru-RU" sz="2000"/>
        </a:p>
      </dgm:t>
    </dgm:pt>
    <dgm:pt modelId="{F1D8D273-4715-4012-AF89-03434F0A5D58}" type="sibTrans" cxnId="{D08C5BBE-EBBC-468A-AAC8-4527176BBADF}">
      <dgm:prSet/>
      <dgm:spPr/>
      <dgm:t>
        <a:bodyPr/>
        <a:lstStyle/>
        <a:p>
          <a:endParaRPr lang="ru-RU" sz="2000"/>
        </a:p>
      </dgm:t>
    </dgm:pt>
    <dgm:pt modelId="{012DE2F1-9B88-4556-AAB8-99DF8A3E9FCA}">
      <dgm:prSet phldrT="[Текст]" custT="1"/>
      <dgm:spPr>
        <a:solidFill>
          <a:srgbClr val="C2E175">
            <a:alpha val="50000"/>
          </a:srgbClr>
        </a:solidFill>
        <a:ln w="3175">
          <a:solidFill>
            <a:schemeClr val="accent3">
              <a:lumMod val="75000"/>
            </a:schemeClr>
          </a:solidFill>
        </a:ln>
      </dgm:spPr>
      <dgm:t>
        <a:bodyPr/>
        <a:lstStyle/>
        <a:p>
          <a:pPr>
            <a:spcAft>
              <a:spcPts val="600"/>
            </a:spcAft>
          </a:pPr>
          <a:r>
            <a:rPr lang="ru-RU" sz="1800" b="1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Беспроцентное </a:t>
          </a:r>
          <a:r>
            <a:rPr lang="ru-RU" sz="18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до 6 мес.) кредитование на неотложные </a:t>
          </a:r>
          <a:r>
            <a:rPr lang="ru-RU" sz="1800" b="1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нужды для поддержания зарплатных фондов</a:t>
          </a:r>
          <a:endParaRPr lang="ru-RU" sz="1800" b="1" dirty="0">
            <a:solidFill>
              <a:schemeClr val="bg2">
                <a:lumMod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797E68E-8FCD-4B67-A859-1F4C27F01DD4}" type="parTrans" cxnId="{4CCEFCAC-7250-4588-8AAA-285DFDBE14BF}">
      <dgm:prSet/>
      <dgm:spPr/>
      <dgm:t>
        <a:bodyPr/>
        <a:lstStyle/>
        <a:p>
          <a:endParaRPr lang="ru-RU" sz="2000"/>
        </a:p>
      </dgm:t>
    </dgm:pt>
    <dgm:pt modelId="{AFE0333F-954F-48AE-83D9-D02C8A848E11}" type="sibTrans" cxnId="{4CCEFCAC-7250-4588-8AAA-285DFDBE14BF}">
      <dgm:prSet/>
      <dgm:spPr/>
      <dgm:t>
        <a:bodyPr/>
        <a:lstStyle/>
        <a:p>
          <a:endParaRPr lang="ru-RU" sz="2000"/>
        </a:p>
      </dgm:t>
    </dgm:pt>
    <dgm:pt modelId="{6ECFD559-B052-4D84-B7E9-AF869DE4C5EB}">
      <dgm:prSet phldrT="[Текст]" custT="1"/>
      <dgm:spPr>
        <a:ln w="3175">
          <a:solidFill>
            <a:schemeClr val="accent3">
              <a:lumMod val="50000"/>
            </a:schemeClr>
          </a:solidFill>
        </a:ln>
      </dgm:spPr>
      <dgm:t>
        <a:bodyPr/>
        <a:lstStyle/>
        <a:p>
          <a:r>
            <a:rPr lang="ru-RU" sz="18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Механизм льготного кредитования </a:t>
          </a:r>
          <a:r>
            <a:rPr lang="ru-RU" sz="1800" b="1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ЮЛ и ИП для </a:t>
          </a:r>
          <a:r>
            <a:rPr lang="ru-RU" sz="18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поддержки и сохранения занятости </a:t>
          </a:r>
          <a:endParaRPr lang="ru-RU" sz="1800" b="1" dirty="0" smtClean="0">
            <a:solidFill>
              <a:schemeClr val="bg2">
                <a:lumMod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r>
            <a:rPr lang="ru-RU" sz="1800" b="1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</a:t>
          </a:r>
          <a:r>
            <a:rPr lang="ru-RU" sz="18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субсидии предоставляются Минэкономразвития России)</a:t>
          </a:r>
        </a:p>
      </dgm:t>
    </dgm:pt>
    <dgm:pt modelId="{3D0C65D0-99B3-4CF1-B73E-1CB13CB57055}" type="sibTrans" cxnId="{C43C89F3-5F71-4CCE-B2A5-E8CF699754A6}">
      <dgm:prSet/>
      <dgm:spPr/>
      <dgm:t>
        <a:bodyPr/>
        <a:lstStyle/>
        <a:p>
          <a:endParaRPr lang="ru-RU" sz="2000"/>
        </a:p>
      </dgm:t>
    </dgm:pt>
    <dgm:pt modelId="{1A1A470D-173E-4406-9104-49093DE78DE0}" type="parTrans" cxnId="{C43C89F3-5F71-4CCE-B2A5-E8CF699754A6}">
      <dgm:prSet/>
      <dgm:spPr/>
      <dgm:t>
        <a:bodyPr/>
        <a:lstStyle/>
        <a:p>
          <a:endParaRPr lang="ru-RU" sz="2000"/>
        </a:p>
      </dgm:t>
    </dgm:pt>
    <dgm:pt modelId="{A847C00A-2159-491E-835B-82F8EE713FE5}" type="pres">
      <dgm:prSet presAssocID="{7A19F954-02FF-4639-9249-FDE63878F5D2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E048BB1F-6B2F-41EB-8EE5-5A64207F2AC1}" type="pres">
      <dgm:prSet presAssocID="{321E4634-07A1-4136-9EF4-2904800F49F4}" presName="vertOne" presStyleCnt="0"/>
      <dgm:spPr/>
    </dgm:pt>
    <dgm:pt modelId="{F37B823D-F6F1-4DBE-8886-3BB62AF06471}" type="pres">
      <dgm:prSet presAssocID="{321E4634-07A1-4136-9EF4-2904800F49F4}" presName="txOne" presStyleLbl="node0" presStyleIdx="0" presStyleCnt="1" custScaleY="66492" custLinFactNeighborX="-223" custLinFactNeighborY="-11134">
        <dgm:presLayoutVars>
          <dgm:chPref val="3"/>
        </dgm:presLayoutVars>
      </dgm:prSet>
      <dgm:spPr>
        <a:xfrm>
          <a:off x="635" y="2187"/>
          <a:ext cx="11614467" cy="2066263"/>
        </a:xfrm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A160D592-92BD-4934-9AA8-EB90E2D6A4E8}" type="pres">
      <dgm:prSet presAssocID="{321E4634-07A1-4136-9EF4-2904800F49F4}" presName="parTransOne" presStyleCnt="0"/>
      <dgm:spPr/>
    </dgm:pt>
    <dgm:pt modelId="{CEF2E367-EAAF-4B50-B63E-78B0E079E8FE}" type="pres">
      <dgm:prSet presAssocID="{321E4634-07A1-4136-9EF4-2904800F49F4}" presName="horzOne" presStyleCnt="0"/>
      <dgm:spPr/>
    </dgm:pt>
    <dgm:pt modelId="{A051D755-51C9-4C1B-8F8E-4CF6FB0A0772}" type="pres">
      <dgm:prSet presAssocID="{6ECFD559-B052-4D84-B7E9-AF869DE4C5EB}" presName="vertTwo" presStyleCnt="0"/>
      <dgm:spPr/>
    </dgm:pt>
    <dgm:pt modelId="{EAE61F14-39FB-4D87-8D17-22939894C052}" type="pres">
      <dgm:prSet presAssocID="{6ECFD559-B052-4D84-B7E9-AF869DE4C5EB}" presName="txTwo" presStyleLbl="node2" presStyleIdx="0" presStyleCnt="1" custScaleY="30085" custLinFactNeighborX="-92" custLinFactNeighborY="-2656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7B1569F-83AD-457A-84EB-9F9ADF150594}" type="pres">
      <dgm:prSet presAssocID="{6ECFD559-B052-4D84-B7E9-AF869DE4C5EB}" presName="parTransTwo" presStyleCnt="0"/>
      <dgm:spPr/>
    </dgm:pt>
    <dgm:pt modelId="{42A6F055-F4F2-4992-BDDC-27CDF9EC9662}" type="pres">
      <dgm:prSet presAssocID="{6ECFD559-B052-4D84-B7E9-AF869DE4C5EB}" presName="horzTwo" presStyleCnt="0"/>
      <dgm:spPr/>
    </dgm:pt>
    <dgm:pt modelId="{C6AFA330-DD21-48BA-876B-A26B1096CFE8}" type="pres">
      <dgm:prSet presAssocID="{012DE2F1-9B88-4556-AAB8-99DF8A3E9FCA}" presName="vertThree" presStyleCnt="0"/>
      <dgm:spPr/>
    </dgm:pt>
    <dgm:pt modelId="{570DC6AB-6D31-4C3A-85F2-4AF430B599B8}" type="pres">
      <dgm:prSet presAssocID="{012DE2F1-9B88-4556-AAB8-99DF8A3E9FCA}" presName="txThree" presStyleLbl="node3" presStyleIdx="0" presStyleCnt="1" custScaleY="76501" custLinFactNeighborX="-2205" custLinFactNeighborY="-461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B55E1A0-1B46-4BBC-A81F-08ECBA81FC5E}" type="pres">
      <dgm:prSet presAssocID="{012DE2F1-9B88-4556-AAB8-99DF8A3E9FCA}" presName="horzThree" presStyleCnt="0"/>
      <dgm:spPr/>
    </dgm:pt>
  </dgm:ptLst>
  <dgm:cxnLst>
    <dgm:cxn modelId="{D08C5BBE-EBBC-468A-AAC8-4527176BBADF}" srcId="{7A19F954-02FF-4639-9249-FDE63878F5D2}" destId="{321E4634-07A1-4136-9EF4-2904800F49F4}" srcOrd="0" destOrd="0" parTransId="{C873D8DA-1ABF-4134-9CD5-4D3788720085}" sibTransId="{F1D8D273-4715-4012-AF89-03434F0A5D58}"/>
    <dgm:cxn modelId="{EB0CD102-32D4-4E57-9A26-D8EE02A4B393}" type="presOf" srcId="{321E4634-07A1-4136-9EF4-2904800F49F4}" destId="{F37B823D-F6F1-4DBE-8886-3BB62AF06471}" srcOrd="0" destOrd="0" presId="urn:microsoft.com/office/officeart/2005/8/layout/hierarchy4"/>
    <dgm:cxn modelId="{4CCEFCAC-7250-4588-8AAA-285DFDBE14BF}" srcId="{6ECFD559-B052-4D84-B7E9-AF869DE4C5EB}" destId="{012DE2F1-9B88-4556-AAB8-99DF8A3E9FCA}" srcOrd="0" destOrd="0" parTransId="{D797E68E-8FCD-4B67-A859-1F4C27F01DD4}" sibTransId="{AFE0333F-954F-48AE-83D9-D02C8A848E11}"/>
    <dgm:cxn modelId="{E3782D41-0009-4962-95FC-2405DCBFD480}" type="presOf" srcId="{012DE2F1-9B88-4556-AAB8-99DF8A3E9FCA}" destId="{570DC6AB-6D31-4C3A-85F2-4AF430B599B8}" srcOrd="0" destOrd="0" presId="urn:microsoft.com/office/officeart/2005/8/layout/hierarchy4"/>
    <dgm:cxn modelId="{F80EEEF6-D9F8-4317-AA70-54217344FC51}" type="presOf" srcId="{7A19F954-02FF-4639-9249-FDE63878F5D2}" destId="{A847C00A-2159-491E-835B-82F8EE713FE5}" srcOrd="0" destOrd="0" presId="urn:microsoft.com/office/officeart/2005/8/layout/hierarchy4"/>
    <dgm:cxn modelId="{87407D37-9A72-4FB1-8BBB-A104A43D2DC7}" type="presOf" srcId="{6ECFD559-B052-4D84-B7E9-AF869DE4C5EB}" destId="{EAE61F14-39FB-4D87-8D17-22939894C052}" srcOrd="0" destOrd="0" presId="urn:microsoft.com/office/officeart/2005/8/layout/hierarchy4"/>
    <dgm:cxn modelId="{C43C89F3-5F71-4CCE-B2A5-E8CF699754A6}" srcId="{321E4634-07A1-4136-9EF4-2904800F49F4}" destId="{6ECFD559-B052-4D84-B7E9-AF869DE4C5EB}" srcOrd="0" destOrd="0" parTransId="{1A1A470D-173E-4406-9104-49093DE78DE0}" sibTransId="{3D0C65D0-99B3-4CF1-B73E-1CB13CB57055}"/>
    <dgm:cxn modelId="{9440635C-19D6-4990-B2F3-A02E600284BE}" type="presParOf" srcId="{A847C00A-2159-491E-835B-82F8EE713FE5}" destId="{E048BB1F-6B2F-41EB-8EE5-5A64207F2AC1}" srcOrd="0" destOrd="0" presId="urn:microsoft.com/office/officeart/2005/8/layout/hierarchy4"/>
    <dgm:cxn modelId="{28B5B2FC-C4AE-4217-8FD8-4EA216366986}" type="presParOf" srcId="{E048BB1F-6B2F-41EB-8EE5-5A64207F2AC1}" destId="{F37B823D-F6F1-4DBE-8886-3BB62AF06471}" srcOrd="0" destOrd="0" presId="urn:microsoft.com/office/officeart/2005/8/layout/hierarchy4"/>
    <dgm:cxn modelId="{551B90BA-BE1F-4ED3-BA05-135A828A3ECA}" type="presParOf" srcId="{E048BB1F-6B2F-41EB-8EE5-5A64207F2AC1}" destId="{A160D592-92BD-4934-9AA8-EB90E2D6A4E8}" srcOrd="1" destOrd="0" presId="urn:microsoft.com/office/officeart/2005/8/layout/hierarchy4"/>
    <dgm:cxn modelId="{A08518F9-C741-4792-BE61-0EE65CEC20AE}" type="presParOf" srcId="{E048BB1F-6B2F-41EB-8EE5-5A64207F2AC1}" destId="{CEF2E367-EAAF-4B50-B63E-78B0E079E8FE}" srcOrd="2" destOrd="0" presId="urn:microsoft.com/office/officeart/2005/8/layout/hierarchy4"/>
    <dgm:cxn modelId="{100D94FB-BC26-471A-92FF-996407A6C6BF}" type="presParOf" srcId="{CEF2E367-EAAF-4B50-B63E-78B0E079E8FE}" destId="{A051D755-51C9-4C1B-8F8E-4CF6FB0A0772}" srcOrd="0" destOrd="0" presId="urn:microsoft.com/office/officeart/2005/8/layout/hierarchy4"/>
    <dgm:cxn modelId="{B10060D6-AF24-40A8-9A82-AAF1EC4D912B}" type="presParOf" srcId="{A051D755-51C9-4C1B-8F8E-4CF6FB0A0772}" destId="{EAE61F14-39FB-4D87-8D17-22939894C052}" srcOrd="0" destOrd="0" presId="urn:microsoft.com/office/officeart/2005/8/layout/hierarchy4"/>
    <dgm:cxn modelId="{91F47230-6ECC-4DEA-95EC-91B3811AD29F}" type="presParOf" srcId="{A051D755-51C9-4C1B-8F8E-4CF6FB0A0772}" destId="{E7B1569F-83AD-457A-84EB-9F9ADF150594}" srcOrd="1" destOrd="0" presId="urn:microsoft.com/office/officeart/2005/8/layout/hierarchy4"/>
    <dgm:cxn modelId="{706555A7-CF6A-4305-987A-1CEAE5FF8DFB}" type="presParOf" srcId="{A051D755-51C9-4C1B-8F8E-4CF6FB0A0772}" destId="{42A6F055-F4F2-4992-BDDC-27CDF9EC9662}" srcOrd="2" destOrd="0" presId="urn:microsoft.com/office/officeart/2005/8/layout/hierarchy4"/>
    <dgm:cxn modelId="{29C70B33-48D8-4F5C-AEBA-3F2760410F0B}" type="presParOf" srcId="{42A6F055-F4F2-4992-BDDC-27CDF9EC9662}" destId="{C6AFA330-DD21-48BA-876B-A26B1096CFE8}" srcOrd="0" destOrd="0" presId="urn:microsoft.com/office/officeart/2005/8/layout/hierarchy4"/>
    <dgm:cxn modelId="{0E3CC5F4-35EA-4552-A618-F064A497A526}" type="presParOf" srcId="{C6AFA330-DD21-48BA-876B-A26B1096CFE8}" destId="{570DC6AB-6D31-4C3A-85F2-4AF430B599B8}" srcOrd="0" destOrd="0" presId="urn:microsoft.com/office/officeart/2005/8/layout/hierarchy4"/>
    <dgm:cxn modelId="{497F6F4D-8A06-4692-BC50-6BBA9FFC4A28}" type="presParOf" srcId="{C6AFA330-DD21-48BA-876B-A26B1096CFE8}" destId="{DB55E1A0-1B46-4BBC-A81F-08ECBA81FC5E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7B823D-F6F1-4DBE-8886-3BB62AF06471}">
      <dsp:nvSpPr>
        <dsp:cNvPr id="0" name=""/>
        <dsp:cNvSpPr/>
      </dsp:nvSpPr>
      <dsp:spPr>
        <a:xfrm>
          <a:off x="0" y="0"/>
          <a:ext cx="11604394" cy="2174647"/>
        </a:xfrm>
        <a:prstGeom prst="roundRect">
          <a:avLst>
            <a:gd name="adj" fmla="val 10000"/>
          </a:avLst>
        </a:prstGeom>
        <a:solidFill>
          <a:srgbClr val="FFDC6D">
            <a:alpha val="89804"/>
          </a:srgbClr>
        </a:solidFill>
        <a:ln w="3175" cap="flat" cmpd="sng" algn="ctr">
          <a:solidFill>
            <a:srgbClr val="F79646">
              <a:lumMod val="5000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334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rgbClr val="EEECE1">
                  <a:lumMod val="25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Постановление Правительства РФ от 02.04.2020 </a:t>
          </a:r>
          <a:r>
            <a:rPr lang="ru-RU" sz="1800" b="1" kern="1200" dirty="0" smtClean="0">
              <a:solidFill>
                <a:srgbClr val="EEECE1">
                  <a:lumMod val="25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№ </a:t>
          </a:r>
          <a:r>
            <a:rPr lang="ru-RU" sz="1800" b="1" kern="1200" dirty="0">
              <a:solidFill>
                <a:srgbClr val="EEECE1">
                  <a:lumMod val="25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422 </a:t>
          </a:r>
          <a:endParaRPr lang="ru-RU" sz="1800" b="1" kern="1200" dirty="0" smtClean="0">
            <a:solidFill>
              <a:srgbClr val="EEECE1">
                <a:lumMod val="25000"/>
              </a:srgb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marL="0" lvl="0" indent="0" algn="ctr" defTabSz="7334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 smtClean="0">
              <a:solidFill>
                <a:srgbClr val="EEECE1">
                  <a:lumMod val="25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«Об </a:t>
          </a:r>
          <a:r>
            <a:rPr lang="ru-RU" sz="1800" b="1" kern="1200" dirty="0">
              <a:solidFill>
                <a:srgbClr val="EEECE1">
                  <a:lumMod val="25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утверждении Правил предоставления субсидий из федерального бюджета российским кредитным организациям на возмещение недополученных ими доходов по кредитам, выданным в 2020 году </a:t>
          </a:r>
          <a:r>
            <a:rPr lang="ru-RU" sz="1800" b="1" kern="1200" dirty="0" smtClean="0">
              <a:solidFill>
                <a:srgbClr val="EEECE1">
                  <a:lumMod val="25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юридическим лицам и индивидуальным предпринимателям </a:t>
          </a:r>
          <a:r>
            <a:rPr lang="ru-RU" sz="1800" b="1" kern="1200" dirty="0">
              <a:solidFill>
                <a:srgbClr val="EEECE1">
                  <a:lumMod val="25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на неотложные нужды для поддержки и сохранения </a:t>
          </a:r>
          <a:r>
            <a:rPr lang="ru-RU" sz="1800" b="1" kern="1200" dirty="0" smtClean="0">
              <a:solidFill>
                <a:srgbClr val="EEECE1">
                  <a:lumMod val="25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занятости»</a:t>
          </a:r>
          <a:endParaRPr lang="ru-RU" sz="1800" b="1" kern="1200" dirty="0">
            <a:solidFill>
              <a:srgbClr val="EEECE1">
                <a:lumMod val="25000"/>
              </a:srgb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63693" y="63693"/>
        <a:ext cx="11477008" cy="2047261"/>
      </dsp:txXfrm>
    </dsp:sp>
    <dsp:sp modelId="{EAE61F14-39FB-4D87-8D17-22939894C052}">
      <dsp:nvSpPr>
        <dsp:cNvPr id="0" name=""/>
        <dsp:cNvSpPr/>
      </dsp:nvSpPr>
      <dsp:spPr>
        <a:xfrm>
          <a:off x="6343" y="2426698"/>
          <a:ext cx="11581740" cy="983942"/>
        </a:xfrm>
        <a:prstGeom prst="roundRect">
          <a:avLst>
            <a:gd name="adj" fmla="val 10000"/>
          </a:avLst>
        </a:prstGeom>
        <a:solidFill>
          <a:schemeClr val="accent3">
            <a:alpha val="70000"/>
            <a:hueOff val="0"/>
            <a:satOff val="0"/>
            <a:lumOff val="0"/>
            <a:alphaOff val="0"/>
          </a:schemeClr>
        </a:solidFill>
        <a:ln w="3175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Механизм льготного кредитования </a:t>
          </a:r>
          <a:r>
            <a:rPr lang="ru-RU" sz="1800" b="1" kern="1200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ЮЛ и ИП для </a:t>
          </a:r>
          <a:r>
            <a:rPr lang="ru-RU" sz="1800" b="1" kern="120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поддержки и сохранения занятости </a:t>
          </a:r>
          <a:endParaRPr lang="ru-RU" sz="1800" b="1" kern="1200" dirty="0" smtClean="0">
            <a:solidFill>
              <a:schemeClr val="bg2">
                <a:lumMod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</a:t>
          </a:r>
          <a:r>
            <a:rPr lang="ru-RU" sz="1800" b="1" kern="120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субсидии предоставляются Минэкономразвития России)</a:t>
          </a:r>
        </a:p>
      </dsp:txBody>
      <dsp:txXfrm>
        <a:off x="35162" y="2455517"/>
        <a:ext cx="11524102" cy="926304"/>
      </dsp:txXfrm>
    </dsp:sp>
    <dsp:sp modelId="{570DC6AB-6D31-4C3A-85F2-4AF430B599B8}">
      <dsp:nvSpPr>
        <dsp:cNvPr id="0" name=""/>
        <dsp:cNvSpPr/>
      </dsp:nvSpPr>
      <dsp:spPr>
        <a:xfrm>
          <a:off x="0" y="3684264"/>
          <a:ext cx="11581740" cy="2501996"/>
        </a:xfrm>
        <a:prstGeom prst="roundRect">
          <a:avLst>
            <a:gd name="adj" fmla="val 10000"/>
          </a:avLst>
        </a:prstGeom>
        <a:solidFill>
          <a:srgbClr val="C2E175">
            <a:alpha val="50000"/>
          </a:srgbClr>
        </a:solidFill>
        <a:ln w="3175" cap="flat" cmpd="sng" algn="ctr">
          <a:solidFill>
            <a:schemeClr val="accent3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1800" b="1" kern="1200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Беспроцентное </a:t>
          </a:r>
          <a:r>
            <a:rPr lang="ru-RU" sz="1800" b="1" kern="120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до 6 мес.) кредитование на неотложные </a:t>
          </a:r>
          <a:r>
            <a:rPr lang="ru-RU" sz="1800" b="1" kern="1200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нужды для поддержания зарплатных фондов</a:t>
          </a:r>
          <a:endParaRPr lang="ru-RU" sz="1800" b="1" kern="1200" dirty="0">
            <a:solidFill>
              <a:schemeClr val="bg2">
                <a:lumMod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3281" y="3757545"/>
        <a:ext cx="11435178" cy="23554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4"/>
            <a:ext cx="2946400" cy="496887"/>
          </a:xfrm>
          <a:prstGeom prst="rect">
            <a:avLst/>
          </a:prstGeom>
        </p:spPr>
        <p:txBody>
          <a:bodyPr vert="horz" lIns="93676" tIns="46837" rIns="93676" bIns="46837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90" y="14"/>
            <a:ext cx="2946400" cy="496887"/>
          </a:xfrm>
          <a:prstGeom prst="rect">
            <a:avLst/>
          </a:prstGeom>
        </p:spPr>
        <p:txBody>
          <a:bodyPr vert="horz" lIns="93676" tIns="46837" rIns="93676" bIns="46837" rtlCol="0"/>
          <a:lstStyle>
            <a:lvl1pPr algn="r">
              <a:defRPr sz="1100"/>
            </a:lvl1pPr>
          </a:lstStyle>
          <a:p>
            <a:fld id="{9CFFD9CC-76D8-4C9A-8DA3-2AB54A554D69}" type="datetimeFigureOut">
              <a:rPr lang="ru-RU" smtClean="0"/>
              <a:t>21.07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76" tIns="46837" rIns="93676" bIns="4683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62" y="4716471"/>
            <a:ext cx="5438775" cy="4467225"/>
          </a:xfrm>
          <a:prstGeom prst="rect">
            <a:avLst/>
          </a:prstGeom>
        </p:spPr>
        <p:txBody>
          <a:bodyPr vert="horz" lIns="93676" tIns="46837" rIns="93676" bIns="46837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62"/>
            <a:ext cx="2946400" cy="496887"/>
          </a:xfrm>
          <a:prstGeom prst="rect">
            <a:avLst/>
          </a:prstGeom>
        </p:spPr>
        <p:txBody>
          <a:bodyPr vert="horz" lIns="93676" tIns="46837" rIns="93676" bIns="46837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90" y="9429762"/>
            <a:ext cx="2946400" cy="496887"/>
          </a:xfrm>
          <a:prstGeom prst="rect">
            <a:avLst/>
          </a:prstGeom>
        </p:spPr>
        <p:txBody>
          <a:bodyPr vert="horz" lIns="93676" tIns="46837" rIns="93676" bIns="46837" rtlCol="0" anchor="b"/>
          <a:lstStyle>
            <a:lvl1pPr algn="r">
              <a:defRPr sz="1100"/>
            </a:lvl1pPr>
          </a:lstStyle>
          <a:p>
            <a:fld id="{35B6D981-6F97-41A0-832B-17A7132D27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45843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801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640080" algn="l" defTabSz="12801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1280160" algn="l" defTabSz="12801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920240" algn="l" defTabSz="12801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2560320" algn="l" defTabSz="12801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3200400" algn="l" defTabSz="12801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3840480" algn="l" defTabSz="12801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4480560" algn="l" defTabSz="12801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5120640" algn="l" defTabSz="12801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8CAB64AF-FF5F-4F1D-B538-ACAB5B218672}" type="datetime1">
              <a:rPr lang="ru-RU" smtClean="0"/>
              <a:t>21.07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01196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8CAB64AF-FF5F-4F1D-B538-ACAB5B218672}" type="datetime1">
              <a:rPr lang="ru-RU" smtClean="0"/>
              <a:t>21.07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01196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5.xml"/><Relationship Id="rId7" Type="http://schemas.openxmlformats.org/officeDocument/2006/relationships/image" Target="../media/image7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47.xml"/><Relationship Id="rId7" Type="http://schemas.openxmlformats.org/officeDocument/2006/relationships/image" Target="../media/image8.jpeg"/><Relationship Id="rId2" Type="http://schemas.openxmlformats.org/officeDocument/2006/relationships/tags" Target="../tags/tag4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9.xml"/><Relationship Id="rId7" Type="http://schemas.openxmlformats.org/officeDocument/2006/relationships/image" Target="../media/image10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1.xml"/><Relationship Id="rId7" Type="http://schemas.openxmlformats.org/officeDocument/2006/relationships/image" Target="../media/image12.jpeg"/><Relationship Id="rId2" Type="http://schemas.openxmlformats.org/officeDocument/2006/relationships/tags" Target="../tags/tag5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13.emf"/><Relationship Id="rId2" Type="http://schemas.openxmlformats.org/officeDocument/2006/relationships/tags" Target="../tags/tag6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60120" y="2982596"/>
            <a:ext cx="10881360" cy="205803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20240" y="5440680"/>
            <a:ext cx="8961120" cy="245364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4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8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2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6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80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22100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67842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281160" y="384494"/>
            <a:ext cx="2880360" cy="819213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40080" y="384494"/>
            <a:ext cx="8427720" cy="819213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3357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"/>
            <a:ext cx="12927055" cy="969951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694" y="748155"/>
            <a:ext cx="5835808" cy="887520"/>
          </a:xfrm>
        </p:spPr>
        <p:txBody>
          <a:bodyPr anchor="ctr">
            <a:normAutofit/>
          </a:bodyPr>
          <a:lstStyle>
            <a:lvl1pPr>
              <a:defRPr sz="2240"/>
            </a:lvl1pPr>
          </a:lstStyle>
          <a:p>
            <a:r>
              <a:rPr lang="ru-RU" dirty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1695" y="2186940"/>
            <a:ext cx="11615173" cy="6258560"/>
          </a:xfrm>
        </p:spPr>
        <p:txBody>
          <a:bodyPr/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65798" y="9138809"/>
            <a:ext cx="2987040" cy="5111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39119" y="748154"/>
            <a:ext cx="4480262" cy="88751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748156"/>
            <a:ext cx="176400" cy="887519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00" dirty="0"/>
          </a:p>
        </p:txBody>
      </p:sp>
    </p:spTree>
    <p:extLst>
      <p:ext uri="{BB962C8B-B14F-4D97-AF65-F5344CB8AC3E}">
        <p14:creationId xmlns:p14="http://schemas.microsoft.com/office/powerpoint/2010/main" val="9249143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271520"/>
            <a:ext cx="12801600" cy="30403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6379" y="3556000"/>
            <a:ext cx="5304361" cy="2453640"/>
          </a:xfrm>
        </p:spPr>
        <p:txBody>
          <a:bodyPr bIns="187200" anchor="ctr">
            <a:normAutofit/>
          </a:bodyPr>
          <a:lstStyle>
            <a:lvl1pPr algn="l">
              <a:defRPr sz="3360" b="1" cap="none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39119" y="748154"/>
            <a:ext cx="4480262" cy="88751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748156"/>
            <a:ext cx="176400" cy="887519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00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16379" y="748157"/>
            <a:ext cx="5304361" cy="8875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0185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70" y="2270"/>
          <a:ext cx="2267" cy="22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70" y="2270"/>
                        <a:ext cx="2267" cy="22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6778" cy="2267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36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616379" y="6675481"/>
            <a:ext cx="5304361" cy="30774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96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616379" y="7337046"/>
            <a:ext cx="5304361" cy="307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960" baseline="0" dirty="0">
                <a:solidFill>
                  <a:schemeClr val="accent6"/>
                </a:solidFill>
                <a:latin typeface="+mn-lt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616378" y="9118940"/>
            <a:ext cx="8902060" cy="3447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1149683" eaLnBrk="0" hangingPunct="0"/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КОНФИДЕНЦИАЛЬНАЯ ИНФОРМАЦИЯ, СОБСТВЕННОСТЬ ООО</a:t>
            </a:r>
            <a:r>
              <a:rPr lang="en-US" sz="1120" baseline="0" dirty="0">
                <a:solidFill>
                  <a:schemeClr val="accent6"/>
                </a:solidFill>
                <a:latin typeface="+mn-lt"/>
              </a:rPr>
              <a:t> </a:t>
            </a:r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"Мак-</a:t>
            </a:r>
            <a:r>
              <a:rPr lang="ru-RU" sz="1120" baseline="0" dirty="0" err="1">
                <a:solidFill>
                  <a:schemeClr val="accent6"/>
                </a:solidFill>
                <a:latin typeface="+mn-lt"/>
              </a:rPr>
              <a:t>Кинзи</a:t>
            </a:r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 и Компания </a:t>
            </a:r>
            <a:r>
              <a:rPr lang="ru-RU" sz="1120" baseline="0" dirty="0" err="1">
                <a:solidFill>
                  <a:schemeClr val="accent6"/>
                </a:solidFill>
                <a:latin typeface="+mn-lt"/>
              </a:rPr>
              <a:t>СиАйЭс</a:t>
            </a:r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"</a:t>
            </a:r>
          </a:p>
          <a:p>
            <a:pPr defTabSz="1149683" eaLnBrk="0" hangingPunct="0"/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Любое использование этого документа без специального разрешения ООО "Мак-</a:t>
            </a:r>
            <a:r>
              <a:rPr lang="ru-RU" sz="1120" baseline="0" dirty="0" err="1">
                <a:solidFill>
                  <a:schemeClr val="accent6"/>
                </a:solidFill>
                <a:latin typeface="+mn-lt"/>
              </a:rPr>
              <a:t>Кинзи</a:t>
            </a:r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 и Компания </a:t>
            </a:r>
            <a:r>
              <a:rPr lang="ru-RU" sz="1120" baseline="0" dirty="0" err="1">
                <a:solidFill>
                  <a:schemeClr val="accent6"/>
                </a:solidFill>
                <a:latin typeface="+mn-lt"/>
              </a:rPr>
              <a:t>СиАйЭс</a:t>
            </a:r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" строго запрещено</a:t>
            </a:r>
          </a:p>
        </p:txBody>
      </p:sp>
      <p:pic>
        <p:nvPicPr>
          <p:cNvPr id="23" name="Picture 22" descr="Pattern.png">
            <a:extLst>
              <a:ext uri="{FF2B5EF4-FFF2-40B4-BE49-F238E27FC236}">
                <a16:creationId xmlns:a16="http://schemas.microsoft.com/office/drawing/2014/main" id="{D7E305F5-2A09-4F0A-ADFF-3FEC17400C7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271520"/>
            <a:ext cx="12801600" cy="304038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616379" y="3556000"/>
            <a:ext cx="5304361" cy="24536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72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3360" kern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25" name="Picture 24" descr="Logo.png">
            <a:extLst>
              <a:ext uri="{FF2B5EF4-FFF2-40B4-BE49-F238E27FC236}">
                <a16:creationId xmlns:a16="http://schemas.microsoft.com/office/drawing/2014/main" id="{70CF5DF3-4F92-4BA2-BAA9-A0A9FDF3CB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39119" y="748156"/>
            <a:ext cx="4462482" cy="887519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3BC12E5-1609-45EC-970C-712EF806F362}"/>
              </a:ext>
            </a:extLst>
          </p:cNvPr>
          <p:cNvSpPr>
            <a:spLocks/>
          </p:cNvSpPr>
          <p:nvPr userDrawn="1"/>
        </p:nvSpPr>
        <p:spPr>
          <a:xfrm>
            <a:off x="0" y="748156"/>
            <a:ext cx="176400" cy="887519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3500" dirty="0"/>
          </a:p>
        </p:txBody>
      </p:sp>
    </p:spTree>
    <p:extLst>
      <p:ext uri="{BB962C8B-B14F-4D97-AF65-F5344CB8AC3E}">
        <p14:creationId xmlns:p14="http://schemas.microsoft.com/office/powerpoint/2010/main" val="28285252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70" y="2270"/>
          <a:ext cx="2267" cy="22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70" y="2270"/>
                        <a:ext cx="2267" cy="22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6778" cy="2267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36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20850" y="7629665"/>
            <a:ext cx="10709481" cy="3447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ru-RU" sz="2240" kern="0" noProof="0" dirty="0"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820850" y="8371782"/>
            <a:ext cx="5304361" cy="258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680" baseline="0" dirty="0">
                <a:solidFill>
                  <a:schemeClr val="tx1"/>
                </a:solidFill>
                <a:latin typeface="+mn-lt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820850" y="9154501"/>
            <a:ext cx="10709481" cy="3447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1149683" eaLnBrk="0" hangingPunct="0"/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КОНФИДЕНЦИАЛЬНАЯ ИНФОРМАЦИЯ, СОБСТВЕННОСТЬ ООО</a:t>
            </a:r>
            <a:r>
              <a:rPr lang="en-US" sz="1120" baseline="0" dirty="0">
                <a:solidFill>
                  <a:schemeClr val="accent6"/>
                </a:solidFill>
                <a:latin typeface="+mn-lt"/>
              </a:rPr>
              <a:t> </a:t>
            </a:r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"Мак-</a:t>
            </a:r>
            <a:r>
              <a:rPr lang="ru-RU" sz="1120" baseline="0" dirty="0" err="1">
                <a:solidFill>
                  <a:schemeClr val="accent6"/>
                </a:solidFill>
                <a:latin typeface="+mn-lt"/>
              </a:rPr>
              <a:t>Кинзи</a:t>
            </a:r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 и Компания </a:t>
            </a:r>
            <a:r>
              <a:rPr lang="ru-RU" sz="1120" baseline="0" dirty="0" err="1">
                <a:solidFill>
                  <a:schemeClr val="accent6"/>
                </a:solidFill>
                <a:latin typeface="+mn-lt"/>
              </a:rPr>
              <a:t>СиАйЭс</a:t>
            </a:r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"</a:t>
            </a:r>
          </a:p>
          <a:p>
            <a:pPr defTabSz="1149683" eaLnBrk="0" hangingPunct="0"/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Любое использование этого документа без специального разрешения ООО "Мак-</a:t>
            </a:r>
            <a:r>
              <a:rPr lang="ru-RU" sz="1120" baseline="0" dirty="0" err="1">
                <a:solidFill>
                  <a:schemeClr val="accent6"/>
                </a:solidFill>
                <a:latin typeface="+mn-lt"/>
              </a:rPr>
              <a:t>Кинзи</a:t>
            </a:r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 и Компания </a:t>
            </a:r>
            <a:r>
              <a:rPr lang="ru-RU" sz="1120" baseline="0" dirty="0" err="1">
                <a:solidFill>
                  <a:schemeClr val="accent6"/>
                </a:solidFill>
                <a:latin typeface="+mn-lt"/>
              </a:rPr>
              <a:t>СиАйЭс</a:t>
            </a:r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820850" y="6272147"/>
            <a:ext cx="10709481" cy="11804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3360" kern="0" noProof="0" dirty="0"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11" name="Picture 10" descr="Covers Fields.jpg">
            <a:extLst>
              <a:ext uri="{FF2B5EF4-FFF2-40B4-BE49-F238E27FC236}">
                <a16:creationId xmlns:a16="http://schemas.microsoft.com/office/drawing/2014/main" id="{3B63D4F5-12E2-4764-BAE5-7B9756B83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801601" cy="6049523"/>
          </a:xfrm>
          <a:prstGeom prst="rect">
            <a:avLst/>
          </a:prstGeom>
        </p:spPr>
      </p:pic>
      <p:pic>
        <p:nvPicPr>
          <p:cNvPr id="12" name="Picture 11" descr="Logo.png">
            <a:extLst>
              <a:ext uri="{FF2B5EF4-FFF2-40B4-BE49-F238E27FC236}">
                <a16:creationId xmlns:a16="http://schemas.microsoft.com/office/drawing/2014/main" id="{71C13131-592C-4A15-B685-B4CCE13C74E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339119" y="748154"/>
            <a:ext cx="4480262" cy="887519"/>
          </a:xfrm>
          <a:prstGeom prst="rect">
            <a:avLst/>
          </a:prstGeom>
        </p:spPr>
      </p:pic>
      <p:sp>
        <p:nvSpPr>
          <p:cNvPr id="13" name="dText Placeholder 11">
            <a:extLst>
              <a:ext uri="{FF2B5EF4-FFF2-40B4-BE49-F238E27FC236}">
                <a16:creationId xmlns:a16="http://schemas.microsoft.com/office/drawing/2014/main" id="{BC7EE43A-35C3-4165-8308-73A85B61E9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9739" y="748157"/>
            <a:ext cx="5304361" cy="887520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48C298A-56FF-415A-AB0C-59875D1C06E0}"/>
              </a:ext>
            </a:extLst>
          </p:cNvPr>
          <p:cNvSpPr/>
          <p:nvPr userDrawn="1"/>
        </p:nvSpPr>
        <p:spPr>
          <a:xfrm>
            <a:off x="0" y="748156"/>
            <a:ext cx="176400" cy="887519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00" dirty="0"/>
          </a:p>
        </p:txBody>
      </p:sp>
    </p:spTree>
    <p:extLst>
      <p:ext uri="{BB962C8B-B14F-4D97-AF65-F5344CB8AC3E}">
        <p14:creationId xmlns:p14="http://schemas.microsoft.com/office/powerpoint/2010/main" val="41625559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70" y="2270"/>
          <a:ext cx="2267" cy="22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70" y="2270"/>
                        <a:ext cx="2267" cy="22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6778" cy="2267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36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 descr="Covers Grass 01.jpg">
            <a:extLst>
              <a:ext uri="{FF2B5EF4-FFF2-40B4-BE49-F238E27FC236}">
                <a16:creationId xmlns:a16="http://schemas.microsoft.com/office/drawing/2014/main" id="{67C0A361-0685-4902-BE1A-163886D281E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3057632" cy="9797491"/>
          </a:xfrm>
          <a:prstGeom prst="rect">
            <a:avLst/>
          </a:prstGeom>
        </p:spPr>
      </p:pic>
      <p:pic>
        <p:nvPicPr>
          <p:cNvPr id="15" name="Picture 14" descr="Logo.png">
            <a:extLst>
              <a:ext uri="{FF2B5EF4-FFF2-40B4-BE49-F238E27FC236}">
                <a16:creationId xmlns:a16="http://schemas.microsoft.com/office/drawing/2014/main" id="{DA86E0C5-5D54-4EB6-8D44-EF1A60860ED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339119" y="748154"/>
            <a:ext cx="4480262" cy="887519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98EB2137-11EE-499F-87D9-CB63935D15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6379" y="748157"/>
            <a:ext cx="5304361" cy="8875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FB7C5A9-21D2-49FB-B896-2C530FC10C09}"/>
              </a:ext>
            </a:extLst>
          </p:cNvPr>
          <p:cNvSpPr/>
          <p:nvPr userDrawn="1"/>
        </p:nvSpPr>
        <p:spPr>
          <a:xfrm>
            <a:off x="0" y="2448170"/>
            <a:ext cx="176400" cy="7362999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BA00D15-BEA2-4216-BFA7-D94284E5DDAC}"/>
              </a:ext>
            </a:extLst>
          </p:cNvPr>
          <p:cNvSpPr/>
          <p:nvPr userDrawn="1"/>
        </p:nvSpPr>
        <p:spPr>
          <a:xfrm>
            <a:off x="0" y="748156"/>
            <a:ext cx="176400" cy="887519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0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616380" y="4888847"/>
            <a:ext cx="10709481" cy="34470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224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CA2E80B-A8A1-4C15-B779-ECC79C1BE3F4}"/>
              </a:ext>
            </a:extLst>
          </p:cNvPr>
          <p:cNvCxnSpPr/>
          <p:nvPr userDrawn="1"/>
        </p:nvCxnSpPr>
        <p:spPr>
          <a:xfrm>
            <a:off x="758612" y="4667281"/>
            <a:ext cx="12162412" cy="2223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616379" y="6291522"/>
            <a:ext cx="2122504" cy="258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680" baseline="0" dirty="0">
                <a:solidFill>
                  <a:schemeClr val="bg1"/>
                </a:solidFill>
                <a:latin typeface="+mn-lt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616380" y="9317058"/>
            <a:ext cx="10709481" cy="3447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defTabSz="1149683" eaLnBrk="0" hangingPunct="0"/>
            <a:r>
              <a:rPr lang="ru-RU" sz="1120" baseline="0" dirty="0">
                <a:solidFill>
                  <a:schemeClr val="bg1"/>
                </a:solidFill>
                <a:latin typeface="+mn-lt"/>
              </a:rPr>
              <a:t>КОНФИДЕНЦИАЛЬНАЯ ИНФОРМАЦИЯ, СОБСТВЕННОСТЬ ООО</a:t>
            </a:r>
            <a:r>
              <a:rPr lang="en-US" sz="112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ru-RU" sz="1120" baseline="0" dirty="0">
                <a:solidFill>
                  <a:schemeClr val="bg1"/>
                </a:solidFill>
                <a:latin typeface="+mn-lt"/>
              </a:rPr>
              <a:t>"Мак-</a:t>
            </a:r>
            <a:r>
              <a:rPr lang="ru-RU" sz="1120" baseline="0" dirty="0" err="1">
                <a:solidFill>
                  <a:schemeClr val="bg1"/>
                </a:solidFill>
                <a:latin typeface="+mn-lt"/>
              </a:rPr>
              <a:t>Кинзи</a:t>
            </a:r>
            <a:r>
              <a:rPr lang="ru-RU" sz="1120" baseline="0" dirty="0">
                <a:solidFill>
                  <a:schemeClr val="bg1"/>
                </a:solidFill>
                <a:latin typeface="+mn-lt"/>
              </a:rPr>
              <a:t> и Компания </a:t>
            </a:r>
            <a:r>
              <a:rPr lang="ru-RU" sz="1120" baseline="0" dirty="0" err="1">
                <a:solidFill>
                  <a:schemeClr val="bg1"/>
                </a:solidFill>
                <a:latin typeface="+mn-lt"/>
              </a:rPr>
              <a:t>СиАйЭс</a:t>
            </a:r>
            <a:r>
              <a:rPr lang="ru-RU" sz="1120" baseline="0" dirty="0">
                <a:solidFill>
                  <a:schemeClr val="bg1"/>
                </a:solidFill>
                <a:latin typeface="+mn-lt"/>
              </a:rPr>
              <a:t>"</a:t>
            </a:r>
          </a:p>
          <a:p>
            <a:pPr defTabSz="1149683" eaLnBrk="0" hangingPunct="0"/>
            <a:r>
              <a:rPr lang="ru-RU" sz="1120" baseline="0" dirty="0">
                <a:solidFill>
                  <a:schemeClr val="bg1"/>
                </a:solidFill>
                <a:latin typeface="+mn-lt"/>
              </a:rPr>
              <a:t>Любое использование этого документа без специального разрешения ООО "Мак-</a:t>
            </a:r>
            <a:r>
              <a:rPr lang="ru-RU" sz="1120" baseline="0" dirty="0" err="1">
                <a:solidFill>
                  <a:schemeClr val="bg1"/>
                </a:solidFill>
                <a:latin typeface="+mn-lt"/>
              </a:rPr>
              <a:t>Кинзи</a:t>
            </a:r>
            <a:r>
              <a:rPr lang="ru-RU" sz="1120" baseline="0" dirty="0">
                <a:solidFill>
                  <a:schemeClr val="bg1"/>
                </a:solidFill>
                <a:latin typeface="+mn-lt"/>
              </a:rPr>
              <a:t> и Компания </a:t>
            </a:r>
            <a:r>
              <a:rPr lang="ru-RU" sz="1120" baseline="0" dirty="0" err="1">
                <a:solidFill>
                  <a:schemeClr val="bg1"/>
                </a:solidFill>
                <a:latin typeface="+mn-lt"/>
              </a:rPr>
              <a:t>СиАйЭс</a:t>
            </a:r>
            <a:r>
              <a:rPr lang="ru-RU" sz="1120" baseline="0" dirty="0">
                <a:solidFill>
                  <a:schemeClr val="bg1"/>
                </a:solidFill>
                <a:latin typeface="+mn-lt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616380" y="3265341"/>
            <a:ext cx="10709481" cy="11804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336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4436041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98B590-544D-4A91-8E98-4BFFCED9F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69" y="2268"/>
          <a:ext cx="2268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00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98B590-544D-4A91-8E98-4BFFCED9F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69" y="2268"/>
                        <a:ext cx="2268" cy="22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5D437FF-B723-40F8-8940-E06968296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6778" cy="2267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24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 descr="Covers Stripes 01.jpg">
            <a:extLst>
              <a:ext uri="{FF2B5EF4-FFF2-40B4-BE49-F238E27FC236}">
                <a16:creationId xmlns:a16="http://schemas.microsoft.com/office/drawing/2014/main" id="{E50D8869-875E-4164-A2E4-9EC60B9E9C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"/>
          <a:stretch/>
        </p:blipFill>
        <p:spPr>
          <a:xfrm>
            <a:off x="4538" y="9022826"/>
            <a:ext cx="12797063" cy="578375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90274" y="748156"/>
            <a:ext cx="7790735" cy="887519"/>
          </a:xfrm>
        </p:spPr>
        <p:txBody>
          <a:bodyPr anchor="ctr">
            <a:noAutofit/>
          </a:bodyPr>
          <a:lstStyle>
            <a:lvl1pPr>
              <a:defRPr sz="224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1545252" y="72566"/>
            <a:ext cx="938860" cy="174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278936"/>
            <a:endParaRPr lang="ru-RU" sz="114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2234656" y="9233562"/>
            <a:ext cx="177934" cy="17575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1142" baseline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ru-RU" sz="1142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1" name="Picture 10" descr="Logo.png">
            <a:extLst>
              <a:ext uri="{FF2B5EF4-FFF2-40B4-BE49-F238E27FC236}">
                <a16:creationId xmlns:a16="http://schemas.microsoft.com/office/drawing/2014/main" id="{2DF1D76A-F032-4502-8563-7B3CCD913A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39119" y="748156"/>
            <a:ext cx="4462482" cy="88751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DDC1838-7825-424C-9418-EE7C4C3C8525}"/>
              </a:ext>
            </a:extLst>
          </p:cNvPr>
          <p:cNvSpPr>
            <a:spLocks/>
          </p:cNvSpPr>
          <p:nvPr userDrawn="1"/>
        </p:nvSpPr>
        <p:spPr>
          <a:xfrm>
            <a:off x="0" y="748156"/>
            <a:ext cx="176400" cy="887519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3500" dirty="0"/>
          </a:p>
        </p:txBody>
      </p:sp>
    </p:spTree>
    <p:extLst>
      <p:ext uri="{BB962C8B-B14F-4D97-AF65-F5344CB8AC3E}">
        <p14:creationId xmlns:p14="http://schemas.microsoft.com/office/powerpoint/2010/main" val="2797153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70" y="2270"/>
          <a:ext cx="2267" cy="22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24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70" y="2270"/>
                        <a:ext cx="2267" cy="22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E18EA-8854-45AD-BF7A-FC3B21383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4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0274" y="748156"/>
            <a:ext cx="7790735" cy="88751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2234656" y="9296705"/>
            <a:ext cx="177934" cy="17575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1142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ru-RU" sz="114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1545252" y="72566"/>
            <a:ext cx="938860" cy="174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278936"/>
            <a:endParaRPr lang="ru-RU" sz="114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413E40-B8DF-41BC-BF35-998C4065DDF2}"/>
              </a:ext>
            </a:extLst>
          </p:cNvPr>
          <p:cNvSpPr/>
          <p:nvPr userDrawn="1"/>
        </p:nvSpPr>
        <p:spPr>
          <a:xfrm>
            <a:off x="0" y="748156"/>
            <a:ext cx="176400" cy="8274669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00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DB0E77FF-6A21-41B8-AE7F-531CF2D6E89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2234656" y="9233562"/>
            <a:ext cx="177934" cy="17575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1142" baseline="0" smtClean="0">
                <a:solidFill>
                  <a:schemeClr val="tx1"/>
                </a:solidFill>
                <a:latin typeface="+mn-lt"/>
              </a:rPr>
              <a:pPr/>
              <a:t>‹#›</a:t>
            </a:fld>
            <a:endParaRPr lang="ru-RU" sz="1142" baseline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55291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69" y="2269"/>
          <a:ext cx="2267" cy="22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69" y="2269"/>
                        <a:ext cx="2267" cy="22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E008F18-E19A-4BCC-B3CC-C997B822A2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6778" cy="2267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28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0" y="3337970"/>
            <a:ext cx="6444926" cy="3040201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3571" dirty="0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6444926" y="3337970"/>
            <a:ext cx="1015964" cy="304020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3571" dirty="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7678599" y="3337970"/>
            <a:ext cx="637746" cy="304020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3571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8745458" y="3337970"/>
            <a:ext cx="1269952" cy="304020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3571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10015410" y="3337970"/>
            <a:ext cx="437493" cy="304020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3571" dirty="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10676530" y="3337970"/>
            <a:ext cx="850484" cy="304020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3571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11965339" y="3337970"/>
            <a:ext cx="217707" cy="304020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3571" dirty="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12175694" y="3337970"/>
            <a:ext cx="625906" cy="304020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3571" dirty="0">
              <a:solidFill>
                <a:schemeClr val="tx1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529888" y="4330505"/>
            <a:ext cx="5631229" cy="1055135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3428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529888" y="6639868"/>
            <a:ext cx="5631229" cy="30774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20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29888" y="7219954"/>
            <a:ext cx="5631229" cy="307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2000" baseline="0" dirty="0">
                <a:solidFill>
                  <a:schemeClr val="accent6"/>
                </a:solidFill>
                <a:latin typeface="+mn-lt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529888" y="9069225"/>
            <a:ext cx="11828152" cy="351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1149666" eaLnBrk="0" hangingPunct="0"/>
            <a:r>
              <a:rPr lang="ru-RU" sz="1143" baseline="0" dirty="0">
                <a:solidFill>
                  <a:schemeClr val="accent6"/>
                </a:solidFill>
                <a:latin typeface="+mn-lt"/>
              </a:rPr>
              <a:t>КОНФИДЕНЦИАЛЬНАЯ ИНФОРМАЦИЯ, СОБСТВЕННОСТЬ ООО"Мак-Кинзи и Компания СиАйЭс"</a:t>
            </a:r>
          </a:p>
          <a:p>
            <a:pPr defTabSz="1149666" eaLnBrk="0" hangingPunct="0"/>
            <a:r>
              <a:rPr lang="ru-RU" sz="1143" baseline="0" dirty="0">
                <a:solidFill>
                  <a:schemeClr val="accent6"/>
                </a:solidFill>
                <a:latin typeface="+mn-lt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765591"/>
            <a:ext cx="176399" cy="887466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3571" dirty="0"/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id="{BAC9BFC8-9C72-4059-A28A-B61CEB28B6B4}"/>
              </a:ext>
            </a:extLst>
          </p:cNvPr>
          <p:cNvGrpSpPr/>
          <p:nvPr userDrawn="1"/>
        </p:nvGrpSpPr>
        <p:grpSpPr>
          <a:xfrm>
            <a:off x="8330454" y="754688"/>
            <a:ext cx="4362441" cy="902260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</p:grpSp>
    </p:spTree>
    <p:extLst>
      <p:ext uri="{BB962C8B-B14F-4D97-AF65-F5344CB8AC3E}">
        <p14:creationId xmlns:p14="http://schemas.microsoft.com/office/powerpoint/2010/main" val="3920510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2409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69" y="2269"/>
          <a:ext cx="2268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1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ED8B3A-E347-4607-8E72-BBA77B692D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69" y="2269"/>
                        <a:ext cx="2268" cy="22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49EAC6D-2BE7-4619-99A9-DD2EB236D2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6778" cy="2267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71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319757" y="780711"/>
            <a:ext cx="7846507" cy="439640"/>
          </a:xfrm>
        </p:spPr>
        <p:txBody>
          <a:bodyPr/>
          <a:lstStyle>
            <a:lvl1pPr>
              <a:defRPr sz="2857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2234926" y="9224092"/>
            <a:ext cx="177934" cy="17588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1143" baseline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ru-RU" sz="1143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1545252" y="72567"/>
            <a:ext cx="938860" cy="174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278918"/>
            <a:endParaRPr lang="ru-RU" sz="1143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388102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69" y="2269"/>
          <a:ext cx="2267" cy="22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6" name="think-cell Slide" r:id="rId6" imgW="386" imgH="386" progId="TCLayout.ActiveDocument.1">
                  <p:embed/>
                </p:oleObj>
              </mc:Choice>
              <mc:Fallback>
                <p:oleObj name="think-cell Slide" r:id="rId6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269" y="2269"/>
                        <a:ext cx="2267" cy="22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E48A48E-9064-46FC-AA59-85849A9CD3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6778" cy="2267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71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12234656" y="9296641"/>
            <a:ext cx="177934" cy="17588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1143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ru-RU" sz="1143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0648176" y="9296641"/>
            <a:ext cx="1442703" cy="175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78918"/>
            <a:r>
              <a:rPr lang="ru-RU" sz="1143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1545252" y="72567"/>
            <a:ext cx="938860" cy="174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278918"/>
            <a:endParaRPr lang="ru-RU" sz="1143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12801600" cy="96012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571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756" y="763353"/>
            <a:ext cx="12089248" cy="39567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0970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11238" y="6169661"/>
            <a:ext cx="10881360" cy="1906905"/>
          </a:xfrm>
        </p:spPr>
        <p:txBody>
          <a:bodyPr anchor="t"/>
          <a:lstStyle>
            <a:lvl1pPr algn="l">
              <a:defRPr sz="56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011238" y="4069399"/>
            <a:ext cx="10881360" cy="2100262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008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2pPr>
            <a:lvl3pPr marL="128016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3pPr>
            <a:lvl4pPr marL="192024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6032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004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4048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48056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2064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3849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40080" y="2240281"/>
            <a:ext cx="5654040" cy="6336348"/>
          </a:xfrm>
        </p:spPr>
        <p:txBody>
          <a:bodyPr/>
          <a:lstStyle>
            <a:lvl1pPr>
              <a:defRPr sz="3900"/>
            </a:lvl1pPr>
            <a:lvl2pPr>
              <a:defRPr sz="34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507480" y="2240281"/>
            <a:ext cx="5654040" cy="6336348"/>
          </a:xfrm>
        </p:spPr>
        <p:txBody>
          <a:bodyPr/>
          <a:lstStyle>
            <a:lvl1pPr>
              <a:defRPr sz="3900"/>
            </a:lvl1pPr>
            <a:lvl2pPr>
              <a:defRPr sz="34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61624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00" b="1"/>
            </a:lvl3pPr>
            <a:lvl4pPr marL="1920240" indent="0">
              <a:buNone/>
              <a:defRPr sz="2200" b="1"/>
            </a:lvl4pPr>
            <a:lvl5pPr marL="2560320" indent="0">
              <a:buNone/>
              <a:defRPr sz="2200" b="1"/>
            </a:lvl5pPr>
            <a:lvl6pPr marL="3200400" indent="0">
              <a:buNone/>
              <a:defRPr sz="2200" b="1"/>
            </a:lvl6pPr>
            <a:lvl7pPr marL="3840480" indent="0">
              <a:buNone/>
              <a:defRPr sz="2200" b="1"/>
            </a:lvl7pPr>
            <a:lvl8pPr marL="4480560" indent="0">
              <a:buNone/>
              <a:defRPr sz="2200" b="1"/>
            </a:lvl8pPr>
            <a:lvl9pPr marL="5120640" indent="0">
              <a:buNone/>
              <a:defRPr sz="2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</p:spPr>
        <p:txBody>
          <a:bodyPr/>
          <a:lstStyle>
            <a:lvl1pPr>
              <a:defRPr sz="3400"/>
            </a:lvl1pPr>
            <a:lvl2pPr>
              <a:defRPr sz="2800"/>
            </a:lvl2pPr>
            <a:lvl3pPr>
              <a:defRPr sz="25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503036" y="2149158"/>
            <a:ext cx="5658485" cy="89566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00" b="1"/>
            </a:lvl3pPr>
            <a:lvl4pPr marL="1920240" indent="0">
              <a:buNone/>
              <a:defRPr sz="2200" b="1"/>
            </a:lvl4pPr>
            <a:lvl5pPr marL="2560320" indent="0">
              <a:buNone/>
              <a:defRPr sz="2200" b="1"/>
            </a:lvl5pPr>
            <a:lvl6pPr marL="3200400" indent="0">
              <a:buNone/>
              <a:defRPr sz="2200" b="1"/>
            </a:lvl6pPr>
            <a:lvl7pPr marL="3840480" indent="0">
              <a:buNone/>
              <a:defRPr sz="2200" b="1"/>
            </a:lvl7pPr>
            <a:lvl8pPr marL="4480560" indent="0">
              <a:buNone/>
              <a:defRPr sz="2200" b="1"/>
            </a:lvl8pPr>
            <a:lvl9pPr marL="5120640" indent="0">
              <a:buNone/>
              <a:defRPr sz="2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503036" y="3044825"/>
            <a:ext cx="5658485" cy="5531803"/>
          </a:xfrm>
        </p:spPr>
        <p:txBody>
          <a:bodyPr/>
          <a:lstStyle>
            <a:lvl1pPr>
              <a:defRPr sz="3400"/>
            </a:lvl1pPr>
            <a:lvl2pPr>
              <a:defRPr sz="2800"/>
            </a:lvl2pPr>
            <a:lvl3pPr>
              <a:defRPr sz="25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1651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53150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86743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1" y="382270"/>
            <a:ext cx="4211638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005070" y="382271"/>
            <a:ext cx="7156450" cy="8194358"/>
          </a:xfrm>
        </p:spPr>
        <p:txBody>
          <a:bodyPr/>
          <a:lstStyle>
            <a:lvl1pPr>
              <a:defRPr sz="4500"/>
            </a:lvl1pPr>
            <a:lvl2pPr>
              <a:defRPr sz="3900"/>
            </a:lvl2pPr>
            <a:lvl3pPr>
              <a:defRPr sz="34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40081" y="2009141"/>
            <a:ext cx="4211638" cy="6567488"/>
          </a:xfrm>
        </p:spPr>
        <p:txBody>
          <a:bodyPr/>
          <a:lstStyle>
            <a:lvl1pPr marL="0" indent="0">
              <a:buNone/>
              <a:defRPr sz="2000"/>
            </a:lvl1pPr>
            <a:lvl2pPr marL="640080" indent="0">
              <a:buNone/>
              <a:defRPr sz="1700"/>
            </a:lvl2pPr>
            <a:lvl3pPr marL="1280160" indent="0">
              <a:buNone/>
              <a:defRPr sz="1400"/>
            </a:lvl3pPr>
            <a:lvl4pPr marL="1920240" indent="0">
              <a:buNone/>
              <a:defRPr sz="1300"/>
            </a:lvl4pPr>
            <a:lvl5pPr marL="2560320" indent="0">
              <a:buNone/>
              <a:defRPr sz="1300"/>
            </a:lvl5pPr>
            <a:lvl6pPr marL="3200400" indent="0">
              <a:buNone/>
              <a:defRPr sz="1300"/>
            </a:lvl6pPr>
            <a:lvl7pPr marL="3840480" indent="0">
              <a:buNone/>
              <a:defRPr sz="1300"/>
            </a:lvl7pPr>
            <a:lvl8pPr marL="4480560" indent="0">
              <a:buNone/>
              <a:defRPr sz="1300"/>
            </a:lvl8pPr>
            <a:lvl9pPr marL="5120640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45964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/>
          <a:lstStyle>
            <a:lvl1pPr marL="0" indent="0">
              <a:buNone/>
              <a:defRPr sz="4500"/>
            </a:lvl1pPr>
            <a:lvl2pPr marL="640080" indent="0">
              <a:buNone/>
              <a:defRPr sz="3900"/>
            </a:lvl2pPr>
            <a:lvl3pPr marL="1280160" indent="0">
              <a:buNone/>
              <a:defRPr sz="3400"/>
            </a:lvl3pPr>
            <a:lvl4pPr marL="1920240" indent="0">
              <a:buNone/>
              <a:defRPr sz="2800"/>
            </a:lvl4pPr>
            <a:lvl5pPr marL="2560320" indent="0">
              <a:buNone/>
              <a:defRPr sz="2800"/>
            </a:lvl5pPr>
            <a:lvl6pPr marL="3200400" indent="0">
              <a:buNone/>
              <a:defRPr sz="2800"/>
            </a:lvl6pPr>
            <a:lvl7pPr marL="3840480" indent="0">
              <a:buNone/>
              <a:defRPr sz="2800"/>
            </a:lvl7pPr>
            <a:lvl8pPr marL="4480560" indent="0">
              <a:buNone/>
              <a:defRPr sz="2800"/>
            </a:lvl8pPr>
            <a:lvl9pPr marL="5120640" indent="0">
              <a:buNone/>
              <a:defRPr sz="28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</p:spPr>
        <p:txBody>
          <a:bodyPr/>
          <a:lstStyle>
            <a:lvl1pPr marL="0" indent="0">
              <a:buNone/>
              <a:defRPr sz="2000"/>
            </a:lvl1pPr>
            <a:lvl2pPr marL="640080" indent="0">
              <a:buNone/>
              <a:defRPr sz="1700"/>
            </a:lvl2pPr>
            <a:lvl3pPr marL="1280160" indent="0">
              <a:buNone/>
              <a:defRPr sz="1400"/>
            </a:lvl3pPr>
            <a:lvl4pPr marL="1920240" indent="0">
              <a:buNone/>
              <a:defRPr sz="1300"/>
            </a:lvl4pPr>
            <a:lvl5pPr marL="2560320" indent="0">
              <a:buNone/>
              <a:defRPr sz="1300"/>
            </a:lvl5pPr>
            <a:lvl6pPr marL="3200400" indent="0">
              <a:buNone/>
              <a:defRPr sz="1300"/>
            </a:lvl6pPr>
            <a:lvl7pPr marL="3840480" indent="0">
              <a:buNone/>
              <a:defRPr sz="1300"/>
            </a:lvl7pPr>
            <a:lvl8pPr marL="4480560" indent="0">
              <a:buNone/>
              <a:defRPr sz="1300"/>
            </a:lvl8pPr>
            <a:lvl9pPr marL="5120640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41795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tags" Target="../tags/tag19.xml"/><Relationship Id="rId39" Type="http://schemas.openxmlformats.org/officeDocument/2006/relationships/tags" Target="../tags/tag32.xml"/><Relationship Id="rId21" Type="http://schemas.openxmlformats.org/officeDocument/2006/relationships/tags" Target="../tags/tag14.xml"/><Relationship Id="rId34" Type="http://schemas.openxmlformats.org/officeDocument/2006/relationships/tags" Target="../tags/tag27.xml"/><Relationship Id="rId42" Type="http://schemas.openxmlformats.org/officeDocument/2006/relationships/tags" Target="../tags/tag35.xml"/><Relationship Id="rId47" Type="http://schemas.openxmlformats.org/officeDocument/2006/relationships/tags" Target="../tags/tag40.xml"/><Relationship Id="rId50" Type="http://schemas.openxmlformats.org/officeDocument/2006/relationships/tags" Target="../tags/tag4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9.xml"/><Relationship Id="rId29" Type="http://schemas.openxmlformats.org/officeDocument/2006/relationships/tags" Target="../tags/tag22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32" Type="http://schemas.openxmlformats.org/officeDocument/2006/relationships/tags" Target="../tags/tag25.xml"/><Relationship Id="rId37" Type="http://schemas.openxmlformats.org/officeDocument/2006/relationships/tags" Target="../tags/tag30.xml"/><Relationship Id="rId40" Type="http://schemas.openxmlformats.org/officeDocument/2006/relationships/tags" Target="../tags/tag33.xml"/><Relationship Id="rId45" Type="http://schemas.openxmlformats.org/officeDocument/2006/relationships/tags" Target="../tags/tag38.xml"/><Relationship Id="rId53" Type="http://schemas.openxmlformats.org/officeDocument/2006/relationships/image" Target="../media/image5.png"/><Relationship Id="rId5" Type="http://schemas.openxmlformats.org/officeDocument/2006/relationships/slideLayout" Target="../slideLayouts/slideLayout18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31" Type="http://schemas.openxmlformats.org/officeDocument/2006/relationships/tags" Target="../tags/tag24.xml"/><Relationship Id="rId44" Type="http://schemas.openxmlformats.org/officeDocument/2006/relationships/tags" Target="../tags/tag37.xml"/><Relationship Id="rId52" Type="http://schemas.openxmlformats.org/officeDocument/2006/relationships/image" Target="../media/image4.emf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tags" Target="../tags/tag20.xml"/><Relationship Id="rId30" Type="http://schemas.openxmlformats.org/officeDocument/2006/relationships/tags" Target="../tags/tag23.xml"/><Relationship Id="rId35" Type="http://schemas.openxmlformats.org/officeDocument/2006/relationships/tags" Target="../tags/tag28.xml"/><Relationship Id="rId43" Type="http://schemas.openxmlformats.org/officeDocument/2006/relationships/tags" Target="../tags/tag36.xml"/><Relationship Id="rId48" Type="http://schemas.openxmlformats.org/officeDocument/2006/relationships/tags" Target="../tags/tag41.xml"/><Relationship Id="rId8" Type="http://schemas.openxmlformats.org/officeDocument/2006/relationships/tags" Target="../tags/tag1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16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33" Type="http://schemas.openxmlformats.org/officeDocument/2006/relationships/tags" Target="../tags/tag26.xml"/><Relationship Id="rId38" Type="http://schemas.openxmlformats.org/officeDocument/2006/relationships/tags" Target="../tags/tag31.xml"/><Relationship Id="rId46" Type="http://schemas.openxmlformats.org/officeDocument/2006/relationships/tags" Target="../tags/tag39.xml"/><Relationship Id="rId20" Type="http://schemas.openxmlformats.org/officeDocument/2006/relationships/tags" Target="../tags/tag13.xml"/><Relationship Id="rId41" Type="http://schemas.openxmlformats.org/officeDocument/2006/relationships/tags" Target="../tags/tag34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2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tags" Target="../tags/tag21.xml"/><Relationship Id="rId36" Type="http://schemas.openxmlformats.org/officeDocument/2006/relationships/tags" Target="../tags/tag29.xml"/><Relationship Id="rId49" Type="http://schemas.openxmlformats.org/officeDocument/2006/relationships/tags" Target="../tags/tag4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21.xml"/><Relationship Id="rId7" Type="http://schemas.openxmlformats.org/officeDocument/2006/relationships/tags" Target="../tags/tag5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54.xml"/><Relationship Id="rId5" Type="http://schemas.openxmlformats.org/officeDocument/2006/relationships/vmlDrawing" Target="../drawings/vmlDrawing7.vml"/><Relationship Id="rId4" Type="http://schemas.openxmlformats.org/officeDocument/2006/relationships/theme" Target="../theme/theme3.xml"/><Relationship Id="rId9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 vert="horz" lIns="128016" tIns="64008" rIns="128016" bIns="64008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40080" y="2240281"/>
            <a:ext cx="11521440" cy="6336348"/>
          </a:xfrm>
          <a:prstGeom prst="rect">
            <a:avLst/>
          </a:prstGeom>
        </p:spPr>
        <p:txBody>
          <a:bodyPr vert="horz" lIns="128016" tIns="64008" rIns="128016" bIns="6400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40080" y="8898891"/>
            <a:ext cx="2987040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373880" y="8898891"/>
            <a:ext cx="4053840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74480" y="8898891"/>
            <a:ext cx="2987040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lvl1pPr algn="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0566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ctr" defTabSz="1280160" rtl="0" eaLnBrk="1" latinLnBrk="0" hangingPunct="1">
        <a:spcBef>
          <a:spcPct val="0"/>
        </a:spcBef>
        <a:buNone/>
        <a:defRPr sz="6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0" indent="-48006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30" indent="-400050" algn="l" defTabSz="1280160" rtl="0" eaLnBrk="1" latinLnBrk="0" hangingPunct="1">
        <a:spcBef>
          <a:spcPct val="20000"/>
        </a:spcBef>
        <a:buFont typeface="Arial" panose="020B0604020202020204" pitchFamily="34" charset="0"/>
        <a:buChar char="–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05" name="think-cell Slide" r:id="rId51" imgW="270" imgH="270" progId="TCLayout.ActiveDocument.1">
                  <p:embed/>
                </p:oleObj>
              </mc:Choice>
              <mc:Fallback>
                <p:oleObj name="think-cell Slide" r:id="rId5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26778" cy="2267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226778" cy="22676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40" b="1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90274" y="748156"/>
            <a:ext cx="7790735" cy="8875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90274" y="289903"/>
            <a:ext cx="700513" cy="175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142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90274" y="1699370"/>
            <a:ext cx="12193839" cy="301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96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0085" y="8472489"/>
            <a:ext cx="12311758" cy="172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12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0085" y="8760482"/>
            <a:ext cx="10285349" cy="172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870765" indent="-870765" defTabSz="1278936">
              <a:tabLst>
                <a:tab pos="900245" algn="l"/>
              </a:tabLst>
            </a:pPr>
            <a:r>
              <a:rPr lang="ru-RU" sz="1120" baseline="0" dirty="0">
                <a:solidFill>
                  <a:schemeClr val="accent6"/>
                </a:solidFill>
                <a:latin typeface="+mn-lt"/>
                <a:ea typeface="+mn-ea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290274" y="3854223"/>
            <a:ext cx="12193839" cy="1582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90274" y="2147125"/>
            <a:ext cx="12193839" cy="535164"/>
            <a:chOff x="915" y="794"/>
            <a:chExt cx="2686" cy="23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94"/>
              <a:ext cx="2686" cy="2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80" b="1" baseline="0" dirty="0">
                  <a:solidFill>
                    <a:schemeClr val="tx2"/>
                  </a:solidFill>
                  <a:latin typeface="+mn-lt"/>
                  <a:ea typeface="+mn-ea"/>
                </a:rPr>
                <a:t>Название документа</a:t>
              </a:r>
            </a:p>
            <a:p>
              <a:r>
                <a:rPr lang="ru-RU" sz="168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791939" y="270120"/>
            <a:ext cx="689909" cy="218905"/>
            <a:chOff x="8257822" y="285750"/>
            <a:chExt cx="482953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77016" y="285750"/>
              <a:ext cx="463759" cy="14243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78936">
                <a:buClr>
                  <a:srgbClr val="002960"/>
                </a:buClr>
              </a:pPr>
              <a:r>
                <a:rPr lang="ru-RU" sz="114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57822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57822" y="438997"/>
              <a:ext cx="48295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11545252" y="72566"/>
            <a:ext cx="938860" cy="174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278936"/>
            <a:endParaRPr lang="ru-RU" sz="114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776214" y="3785020"/>
            <a:ext cx="1658797" cy="1087719"/>
            <a:chOff x="7607284" y="279400"/>
            <a:chExt cx="1161199" cy="76147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2331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2331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2331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8169259" y="279400"/>
              <a:ext cx="599224" cy="2153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69259" y="546100"/>
              <a:ext cx="599224" cy="2153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 dirty="0" err="1">
                  <a:latin typeface="+mn-lt"/>
                  <a:ea typeface="+mn-ea"/>
                </a:rPr>
                <a:t>Legend</a:t>
              </a:r>
              <a:endParaRPr lang="ru-RU" sz="1999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8169259" y="825501"/>
              <a:ext cx="599224" cy="2153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1216168" y="5079895"/>
            <a:ext cx="1218849" cy="1468683"/>
            <a:chOff x="5894005" y="919828"/>
            <a:chExt cx="853225" cy="102817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2331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2331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2331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2331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6148005" y="919828"/>
              <a:ext cx="599225" cy="2153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6148005" y="1189703"/>
              <a:ext cx="599225" cy="2153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1461166"/>
              <a:ext cx="599225" cy="2153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6148005" y="1732629"/>
              <a:ext cx="599225" cy="2153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1120916" y="6755733"/>
            <a:ext cx="1314095" cy="1879128"/>
            <a:chOff x="5894005" y="2696542"/>
            <a:chExt cx="919899" cy="1315514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233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233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233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233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233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233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233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233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233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2331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214680" y="2696542"/>
              <a:ext cx="599224" cy="2153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214680" y="2974156"/>
              <a:ext cx="599224" cy="2153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>
                  <a:latin typeface="+mn-lt"/>
                  <a:ea typeface="+mn-ea"/>
                </a:rPr>
                <a:t>Legend</a:t>
              </a:r>
              <a:endParaRPr lang="ru-RU" sz="1999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3248596"/>
              <a:ext cx="599224" cy="2153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3521448"/>
              <a:ext cx="599224" cy="2153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214680" y="3796682"/>
              <a:ext cx="599224" cy="2153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:a16="http://schemas.microsoft.com/office/drawing/2014/main" id="{A5B66859-B8C5-4236-957E-FF42841FD1B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780150" y="3490729"/>
            <a:ext cx="2179334" cy="2176937"/>
          </a:xfrm>
          <a:prstGeom prst="ellipse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 algn="ctr"/>
            <a:r>
              <a:rPr lang="en-US" sz="1999" dirty="0"/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:a16="http://schemas.microsoft.com/office/drawing/2014/main" id="{4AAC3372-A48A-4820-8F6F-A51D8691BD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130838" y="3490727"/>
            <a:ext cx="2179334" cy="2176937"/>
          </a:xfrm>
          <a:prstGeom prst="rect">
            <a:avLst/>
          </a:prstGeom>
          <a:solidFill>
            <a:schemeClr val="accent1"/>
          </a:solidFill>
        </p:spPr>
        <p:txBody>
          <a:bodyPr vert="horz" lIns="106680" tIns="106680" rIns="106680" bIns="10668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/>
            <a:r>
              <a:rPr lang="en-US" sz="1999"/>
              <a:t>Text</a:t>
            </a:r>
            <a:endParaRPr lang="en-US" sz="1999" dirty="0"/>
          </a:p>
        </p:txBody>
      </p:sp>
      <p:sp>
        <p:nvSpPr>
          <p:cNvPr id="72" name="RoundedRectangle" hidden="1">
            <a:extLst>
              <a:ext uri="{FF2B5EF4-FFF2-40B4-BE49-F238E27FC236}">
                <a16:creationId xmlns:a16="http://schemas.microsoft.com/office/drawing/2014/main" id="{06304376-23F1-4490-9114-C60C97DE22A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7552263" y="3490727"/>
            <a:ext cx="2179334" cy="2176937"/>
          </a:xfrm>
          <a:prstGeom prst="roundRect">
            <a:avLst/>
          </a:prstGeom>
          <a:solidFill>
            <a:schemeClr val="accent1"/>
          </a:solidFill>
        </p:spPr>
        <p:txBody>
          <a:bodyPr vert="horz" lIns="106680" tIns="106680" rIns="106680" bIns="10668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/>
            <a:r>
              <a:rPr lang="en-US" sz="1999"/>
              <a:t>Text</a:t>
            </a:r>
            <a:endParaRPr lang="en-US" sz="1999" dirty="0"/>
          </a:p>
        </p:txBody>
      </p:sp>
      <p:sp>
        <p:nvSpPr>
          <p:cNvPr id="73" name="Arrow" hidden="1">
            <a:extLst>
              <a:ext uri="{FF2B5EF4-FFF2-40B4-BE49-F238E27FC236}">
                <a16:creationId xmlns:a16="http://schemas.microsoft.com/office/drawing/2014/main" id="{BCD31708-CFF4-45E1-8031-671FFD56A27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780150" y="7401559"/>
            <a:ext cx="2614748" cy="1306162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10080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/>
            <a:r>
              <a:rPr lang="en-US" sz="1999" dirty="0"/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 rot="5400000">
            <a:off x="7933915" y="5452798"/>
            <a:ext cx="4414829" cy="490693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02847" tIns="102847" rIns="102847" bIns="102847" anchor="ctr"/>
          <a:lstStyle/>
          <a:p>
            <a:endParaRPr lang="en-US" sz="2285">
              <a:latin typeface="+mn-lt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 userDrawn="1">
            <p:custDataLst>
              <p:tags r:id="rId11"/>
            </p:custDataLst>
          </p:nvPr>
        </p:nvSpPr>
        <p:spPr bwMode="gray">
          <a:xfrm>
            <a:off x="8512634" y="6020831"/>
            <a:ext cx="272133" cy="2358352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31" baseline="30000"/>
          </a:p>
        </p:txBody>
      </p:sp>
      <p:grpSp>
        <p:nvGrpSpPr>
          <p:cNvPr id="76" name="Moon" hidden="1">
            <a:extLst>
              <a:ext uri="{FF2B5EF4-FFF2-40B4-BE49-F238E27FC236}">
                <a16:creationId xmlns:a16="http://schemas.microsoft.com/office/drawing/2014/main" id="{D49398DB-D67F-4A62-A452-18B19078B85C}"/>
              </a:ext>
            </a:extLst>
          </p:cNvPr>
          <p:cNvGrpSpPr/>
          <p:nvPr userDrawn="1">
            <p:custDataLst>
              <p:tags r:id="rId12"/>
            </p:custDataLst>
          </p:nvPr>
        </p:nvGrpSpPr>
        <p:grpSpPr bwMode="gray">
          <a:xfrm>
            <a:off x="9127233" y="6020831"/>
            <a:ext cx="362939" cy="362823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285" dirty="0" err="1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285" dirty="0">
                <a:latin typeface="+mn-lt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 userDrawn="1">
            <p:custDataLst>
              <p:tags r:id="rId13"/>
            </p:custDataLst>
          </p:nvPr>
        </p:nvSpPr>
        <p:spPr>
          <a:xfrm>
            <a:off x="5646410" y="7644002"/>
            <a:ext cx="500402" cy="1143710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102847" tIns="102847" rIns="102847" bIns="1028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 defTabSz="1278936" eaLnBrk="1" latinLnBrk="0" hangingPunct="1">
              <a:buClr>
                <a:schemeClr val="tx2"/>
              </a:buClr>
              <a:buSzPct val="100000"/>
            </a:pPr>
            <a:endParaRPr lang="ru-RU" sz="2331" baseline="0" dirty="0" err="1">
              <a:solidFill>
                <a:schemeClr val="tx1"/>
              </a:solidFill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 userDrawn="1">
            <p:custDataLst>
              <p:tags r:id="rId14"/>
            </p:custDataLst>
          </p:nvPr>
        </p:nvGrpSpPr>
        <p:grpSpPr>
          <a:xfrm>
            <a:off x="6359973" y="7644002"/>
            <a:ext cx="761264" cy="1143710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1278936" eaLnBrk="1" latinLnBrk="0" hangingPunct="1">
                <a:buClr>
                  <a:schemeClr val="tx2"/>
                </a:buClr>
                <a:buSzPct val="100000"/>
              </a:pPr>
              <a:endParaRPr lang="ru-RU" sz="2331" baseline="0" dirty="0" err="1">
                <a:solidFill>
                  <a:schemeClr val="tx1"/>
                </a:solidFill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1278936" eaLnBrk="1" latinLnBrk="0" hangingPunct="1">
                <a:buClr>
                  <a:schemeClr val="tx2"/>
                </a:buClr>
                <a:buSzPct val="100000"/>
              </a:pPr>
              <a:endParaRPr lang="ru-RU" sz="2331" baseline="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 userDrawn="1">
            <p:custDataLst>
              <p:tags r:id="rId15"/>
            </p:custDataLst>
          </p:nvPr>
        </p:nvGrpSpPr>
        <p:grpSpPr>
          <a:xfrm>
            <a:off x="7334399" y="7644002"/>
            <a:ext cx="932831" cy="1143710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1278936" eaLnBrk="1" latinLnBrk="0" hangingPunct="1">
                <a:buClr>
                  <a:schemeClr val="tx2"/>
                </a:buClr>
                <a:buSzPct val="100000"/>
              </a:pPr>
              <a:endParaRPr lang="ru-RU" sz="2331" baseline="0" dirty="0" err="1">
                <a:solidFill>
                  <a:schemeClr val="tx1"/>
                </a:solidFill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1278936" eaLnBrk="1" latinLnBrk="0" hangingPunct="1">
                <a:buClr>
                  <a:schemeClr val="tx2"/>
                </a:buClr>
                <a:buSzPct val="100000"/>
              </a:pPr>
              <a:endParaRPr lang="ru-RU" sz="2331" baseline="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:a16="http://schemas.microsoft.com/office/drawing/2014/main" id="{743D461F-071D-4C30-B23A-AE700C43BE97}"/>
              </a:ext>
            </a:extLst>
          </p:cNvPr>
          <p:cNvGrpSpPr>
            <a:grpSpLocks/>
          </p:cNvGrpSpPr>
          <p:nvPr userDrawn="1">
            <p:custDataLst>
              <p:tags r:id="rId16"/>
            </p:custDataLst>
          </p:nvPr>
        </p:nvGrpSpPr>
        <p:grpSpPr bwMode="gray">
          <a:xfrm>
            <a:off x="2783289" y="6020831"/>
            <a:ext cx="2614748" cy="1306162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285" dirty="0" err="1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999" b="0" dirty="0"/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:a16="http://schemas.microsoft.com/office/drawing/2014/main" id="{372A61CB-91D8-4152-9504-873FB3B2ECAC}"/>
              </a:ext>
            </a:extLst>
          </p:cNvPr>
          <p:cNvGrpSpPr/>
          <p:nvPr userDrawn="1">
            <p:custDataLst>
              <p:tags r:id="rId17"/>
            </p:custDataLst>
          </p:nvPr>
        </p:nvGrpSpPr>
        <p:grpSpPr bwMode="gray">
          <a:xfrm>
            <a:off x="5647961" y="6020831"/>
            <a:ext cx="2613159" cy="1306162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2285" b="1" dirty="0" err="1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999" dirty="0"/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2285" b="1" dirty="0" err="1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999"/>
                <a:t>Text</a:t>
              </a:r>
              <a:endParaRPr lang="en-US" sz="1999" dirty="0"/>
            </a:p>
          </p:txBody>
        </p:sp>
      </p:grpSp>
      <p:pic>
        <p:nvPicPr>
          <p:cNvPr id="96" name="Picture 95" descr="Logo.png">
            <a:extLst>
              <a:ext uri="{FF2B5EF4-FFF2-40B4-BE49-F238E27FC236}">
                <a16:creationId xmlns:a16="http://schemas.microsoft.com/office/drawing/2014/main" id="{2A12DA99-A00D-4EE2-B4EA-C3DEF23DFE52}"/>
              </a:ext>
            </a:extLst>
          </p:cNvPr>
          <p:cNvPicPr>
            <a:picLocks/>
          </p:cNvPicPr>
          <p:nvPr userDrawn="1"/>
        </p:nvPicPr>
        <p:blipFill rotWithShape="1">
          <a:blip r:embed="rId5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39119" y="748156"/>
            <a:ext cx="4462482" cy="887519"/>
          </a:xfrm>
          <a:prstGeom prst="rect">
            <a:avLst/>
          </a:prstGeom>
        </p:spPr>
      </p:pic>
      <p:sp>
        <p:nvSpPr>
          <p:cNvPr id="99" name="Rectangle 98">
            <a:extLst>
              <a:ext uri="{FF2B5EF4-FFF2-40B4-BE49-F238E27FC236}">
                <a16:creationId xmlns:a16="http://schemas.microsoft.com/office/drawing/2014/main" id="{E5F03421-F063-43E9-B7C3-8070DCD8E05D}"/>
              </a:ext>
            </a:extLst>
          </p:cNvPr>
          <p:cNvSpPr>
            <a:spLocks/>
          </p:cNvSpPr>
          <p:nvPr userDrawn="1"/>
        </p:nvSpPr>
        <p:spPr>
          <a:xfrm>
            <a:off x="0" y="748156"/>
            <a:ext cx="176400" cy="887519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3500" dirty="0"/>
          </a:p>
        </p:txBody>
      </p:sp>
    </p:spTree>
    <p:extLst>
      <p:ext uri="{BB962C8B-B14F-4D97-AF65-F5344CB8AC3E}">
        <p14:creationId xmlns:p14="http://schemas.microsoft.com/office/powerpoint/2010/main" val="254443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</p:sldLayoutIdLst>
  <p:hf hdr="0" ftr="0" dt="0"/>
  <p:txStyles>
    <p:titleStyle>
      <a:lvl1pPr algn="l" defTabSz="1278936" rtl="0" eaLnBrk="1" fontAlgn="base" hangingPunct="1">
        <a:spcBef>
          <a:spcPct val="0"/>
        </a:spcBef>
        <a:spcAft>
          <a:spcPct val="0"/>
        </a:spcAft>
        <a:tabLst>
          <a:tab pos="385494" algn="l"/>
        </a:tabLst>
        <a:defRPr sz="224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278936" rtl="0" eaLnBrk="1" fontAlgn="base" hangingPunct="1">
        <a:spcBef>
          <a:spcPct val="0"/>
        </a:spcBef>
        <a:spcAft>
          <a:spcPct val="0"/>
        </a:spcAft>
        <a:defRPr sz="2715" b="1">
          <a:solidFill>
            <a:schemeClr val="tx2"/>
          </a:solidFill>
          <a:latin typeface="Arial" charset="0"/>
        </a:defRPr>
      </a:lvl2pPr>
      <a:lvl3pPr algn="l" defTabSz="1278936" rtl="0" eaLnBrk="1" fontAlgn="base" hangingPunct="1">
        <a:spcBef>
          <a:spcPct val="0"/>
        </a:spcBef>
        <a:spcAft>
          <a:spcPct val="0"/>
        </a:spcAft>
        <a:defRPr sz="2715" b="1">
          <a:solidFill>
            <a:schemeClr val="tx2"/>
          </a:solidFill>
          <a:latin typeface="Arial" charset="0"/>
        </a:defRPr>
      </a:lvl3pPr>
      <a:lvl4pPr algn="l" defTabSz="1278936" rtl="0" eaLnBrk="1" fontAlgn="base" hangingPunct="1">
        <a:spcBef>
          <a:spcPct val="0"/>
        </a:spcBef>
        <a:spcAft>
          <a:spcPct val="0"/>
        </a:spcAft>
        <a:defRPr sz="2715" b="1">
          <a:solidFill>
            <a:schemeClr val="tx2"/>
          </a:solidFill>
          <a:latin typeface="Arial" charset="0"/>
        </a:defRPr>
      </a:lvl4pPr>
      <a:lvl5pPr algn="l" defTabSz="1278936" rtl="0" eaLnBrk="1" fontAlgn="base" hangingPunct="1">
        <a:spcBef>
          <a:spcPct val="0"/>
        </a:spcBef>
        <a:spcAft>
          <a:spcPct val="0"/>
        </a:spcAft>
        <a:defRPr sz="2715" b="1">
          <a:solidFill>
            <a:schemeClr val="tx2"/>
          </a:solidFill>
          <a:latin typeface="Arial" charset="0"/>
        </a:defRPr>
      </a:lvl5pPr>
      <a:lvl6pPr marL="653073" algn="l" defTabSz="1278936" rtl="0" eaLnBrk="1" fontAlgn="base" hangingPunct="1">
        <a:spcBef>
          <a:spcPct val="0"/>
        </a:spcBef>
        <a:spcAft>
          <a:spcPct val="0"/>
        </a:spcAft>
        <a:defRPr sz="2715" b="1">
          <a:solidFill>
            <a:schemeClr val="tx2"/>
          </a:solidFill>
          <a:latin typeface="Arial" charset="0"/>
        </a:defRPr>
      </a:lvl6pPr>
      <a:lvl7pPr marL="1306147" algn="l" defTabSz="1278936" rtl="0" eaLnBrk="1" fontAlgn="base" hangingPunct="1">
        <a:spcBef>
          <a:spcPct val="0"/>
        </a:spcBef>
        <a:spcAft>
          <a:spcPct val="0"/>
        </a:spcAft>
        <a:defRPr sz="2715" b="1">
          <a:solidFill>
            <a:schemeClr val="tx2"/>
          </a:solidFill>
          <a:latin typeface="Arial" charset="0"/>
        </a:defRPr>
      </a:lvl7pPr>
      <a:lvl8pPr marL="1959220" algn="l" defTabSz="1278936" rtl="0" eaLnBrk="1" fontAlgn="base" hangingPunct="1">
        <a:spcBef>
          <a:spcPct val="0"/>
        </a:spcBef>
        <a:spcAft>
          <a:spcPct val="0"/>
        </a:spcAft>
        <a:defRPr sz="2715" b="1">
          <a:solidFill>
            <a:schemeClr val="tx2"/>
          </a:solidFill>
          <a:latin typeface="Arial" charset="0"/>
        </a:defRPr>
      </a:lvl8pPr>
      <a:lvl9pPr marL="2612295" algn="l" defTabSz="1278936" rtl="0" eaLnBrk="1" fontAlgn="base" hangingPunct="1">
        <a:spcBef>
          <a:spcPct val="0"/>
        </a:spcBef>
        <a:spcAft>
          <a:spcPct val="0"/>
        </a:spcAft>
        <a:defRPr sz="2715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789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999" baseline="0">
          <a:solidFill>
            <a:schemeClr val="tx1"/>
          </a:solidFill>
          <a:latin typeface="+mn-lt"/>
          <a:ea typeface="+mn-ea"/>
          <a:cs typeface="+mn-cs"/>
        </a:defRPr>
      </a:lvl1pPr>
      <a:lvl2pPr marL="282827" indent="-282827" algn="l" defTabSz="12789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1999" baseline="0">
          <a:solidFill>
            <a:schemeClr val="tx1"/>
          </a:solidFill>
          <a:latin typeface="+mn-lt"/>
        </a:defRPr>
      </a:lvl2pPr>
      <a:lvl3pPr marL="565655" indent="-282827" algn="l" defTabSz="12789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999" baseline="0">
          <a:solidFill>
            <a:schemeClr val="tx1"/>
          </a:solidFill>
          <a:latin typeface="+mn-lt"/>
        </a:defRPr>
      </a:lvl3pPr>
      <a:lvl4pPr marL="848481" indent="-282827" algn="l" defTabSz="12789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999" baseline="0">
          <a:solidFill>
            <a:schemeClr val="tx1"/>
          </a:solidFill>
          <a:latin typeface="+mn-lt"/>
        </a:defRPr>
      </a:lvl4pPr>
      <a:lvl5pPr marL="1131309" indent="-282827" algn="l" defTabSz="12789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90000"/>
        <a:buFont typeface="Arial" panose="020B0604020202020204" pitchFamily="34" charset="0"/>
        <a:buChar char="♦"/>
        <a:defRPr sz="1999" baseline="0">
          <a:solidFill>
            <a:schemeClr val="tx1"/>
          </a:solidFill>
          <a:latin typeface="+mn-lt"/>
        </a:defRPr>
      </a:lvl5pPr>
      <a:lvl6pPr marL="1071041" indent="-185945" algn="l" defTabSz="12789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5" baseline="0">
          <a:solidFill>
            <a:schemeClr val="tx1"/>
          </a:solidFill>
          <a:latin typeface="+mn-lt"/>
        </a:defRPr>
      </a:lvl6pPr>
      <a:lvl7pPr marL="1071041" indent="-185945" algn="l" defTabSz="12789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5" baseline="0">
          <a:solidFill>
            <a:schemeClr val="tx1"/>
          </a:solidFill>
          <a:latin typeface="+mn-lt"/>
        </a:defRPr>
      </a:lvl7pPr>
      <a:lvl8pPr marL="1071041" indent="-185945" algn="l" defTabSz="12789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5" baseline="0">
          <a:solidFill>
            <a:schemeClr val="tx1"/>
          </a:solidFill>
          <a:latin typeface="+mn-lt"/>
        </a:defRPr>
      </a:lvl8pPr>
      <a:lvl9pPr marL="1071041" indent="-185945" algn="l" defTabSz="12789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5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306147" rtl="0" eaLnBrk="1" latinLnBrk="0" hangingPunct="1">
        <a:defRPr sz="2572" kern="1200">
          <a:solidFill>
            <a:schemeClr val="tx1"/>
          </a:solidFill>
          <a:latin typeface="+mn-lt"/>
          <a:ea typeface="+mn-ea"/>
          <a:cs typeface="+mn-cs"/>
        </a:defRPr>
      </a:lvl1pPr>
      <a:lvl2pPr marL="653073" algn="l" defTabSz="1306147" rtl="0" eaLnBrk="1" latinLnBrk="0" hangingPunct="1">
        <a:defRPr sz="2572" kern="1200">
          <a:solidFill>
            <a:schemeClr val="tx1"/>
          </a:solidFill>
          <a:latin typeface="+mn-lt"/>
          <a:ea typeface="+mn-ea"/>
          <a:cs typeface="+mn-cs"/>
        </a:defRPr>
      </a:lvl2pPr>
      <a:lvl3pPr marL="1306147" algn="l" defTabSz="1306147" rtl="0" eaLnBrk="1" latinLnBrk="0" hangingPunct="1">
        <a:defRPr sz="2572" kern="1200">
          <a:solidFill>
            <a:schemeClr val="tx1"/>
          </a:solidFill>
          <a:latin typeface="+mn-lt"/>
          <a:ea typeface="+mn-ea"/>
          <a:cs typeface="+mn-cs"/>
        </a:defRPr>
      </a:lvl3pPr>
      <a:lvl4pPr marL="1959220" algn="l" defTabSz="1306147" rtl="0" eaLnBrk="1" latinLnBrk="0" hangingPunct="1">
        <a:defRPr sz="2572" kern="1200">
          <a:solidFill>
            <a:schemeClr val="tx1"/>
          </a:solidFill>
          <a:latin typeface="+mn-lt"/>
          <a:ea typeface="+mn-ea"/>
          <a:cs typeface="+mn-cs"/>
        </a:defRPr>
      </a:lvl4pPr>
      <a:lvl5pPr marL="2612295" algn="l" defTabSz="1306147" rtl="0" eaLnBrk="1" latinLnBrk="0" hangingPunct="1">
        <a:defRPr sz="2572" kern="1200">
          <a:solidFill>
            <a:schemeClr val="tx1"/>
          </a:solidFill>
          <a:latin typeface="+mn-lt"/>
          <a:ea typeface="+mn-ea"/>
          <a:cs typeface="+mn-cs"/>
        </a:defRPr>
      </a:lvl5pPr>
      <a:lvl6pPr marL="3265368" algn="l" defTabSz="1306147" rtl="0" eaLnBrk="1" latinLnBrk="0" hangingPunct="1">
        <a:defRPr sz="2572" kern="1200">
          <a:solidFill>
            <a:schemeClr val="tx1"/>
          </a:solidFill>
          <a:latin typeface="+mn-lt"/>
          <a:ea typeface="+mn-ea"/>
          <a:cs typeface="+mn-cs"/>
        </a:defRPr>
      </a:lvl6pPr>
      <a:lvl7pPr marL="3918442" algn="l" defTabSz="1306147" rtl="0" eaLnBrk="1" latinLnBrk="0" hangingPunct="1">
        <a:defRPr sz="2572" kern="1200">
          <a:solidFill>
            <a:schemeClr val="tx1"/>
          </a:solidFill>
          <a:latin typeface="+mn-lt"/>
          <a:ea typeface="+mn-ea"/>
          <a:cs typeface="+mn-cs"/>
        </a:defRPr>
      </a:lvl7pPr>
      <a:lvl8pPr marL="4571515" algn="l" defTabSz="1306147" rtl="0" eaLnBrk="1" latinLnBrk="0" hangingPunct="1">
        <a:defRPr sz="2572" kern="1200">
          <a:solidFill>
            <a:schemeClr val="tx1"/>
          </a:solidFill>
          <a:latin typeface="+mn-lt"/>
          <a:ea typeface="+mn-ea"/>
          <a:cs typeface="+mn-cs"/>
        </a:defRPr>
      </a:lvl8pPr>
      <a:lvl9pPr marL="5224589" algn="l" defTabSz="1306147" rtl="0" eaLnBrk="1" latinLnBrk="0" hangingPunct="1">
        <a:defRPr sz="257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6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26778" cy="2267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26778" cy="22676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71" b="1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319758" y="427960"/>
            <a:ext cx="700513" cy="175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143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319758" y="1739947"/>
            <a:ext cx="12089247" cy="307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2000" baseline="0" dirty="0">
                <a:solidFill>
                  <a:schemeClr val="accent6"/>
                </a:solidFill>
                <a:latin typeface="+mn-lt"/>
                <a:ea typeface="+mn-ea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319758" y="8413724"/>
            <a:ext cx="12089247" cy="176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143" baseline="0" dirty="0">
                <a:solidFill>
                  <a:schemeClr val="accent6"/>
                </a:solidFill>
                <a:latin typeface="+mn-lt"/>
                <a:ea typeface="+mn-ea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319758" y="8701716"/>
            <a:ext cx="12089247" cy="176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870753" indent="-870753" defTabSz="1278918">
              <a:tabLst>
                <a:tab pos="900232" algn="l"/>
              </a:tabLst>
            </a:pPr>
            <a:r>
              <a:rPr lang="ru-RU" sz="1143" baseline="0" dirty="0">
                <a:solidFill>
                  <a:schemeClr val="accent6"/>
                </a:solidFill>
                <a:latin typeface="+mn-lt"/>
                <a:ea typeface="+mn-ea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2075018" y="2787422"/>
            <a:ext cx="6145675" cy="158270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075017" y="1887328"/>
            <a:ext cx="6091248" cy="634940"/>
            <a:chOff x="915" y="750"/>
            <a:chExt cx="2686" cy="28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50"/>
              <a:ext cx="2686" cy="2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20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Название документа</a:t>
              </a:r>
            </a:p>
            <a:p>
              <a:r>
                <a:rPr lang="ru-RU" sz="20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732842" y="408176"/>
            <a:ext cx="676169" cy="215424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77016" y="285750"/>
              <a:ext cx="463759" cy="1425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78918">
                <a:buClr>
                  <a:srgbClr val="002960"/>
                </a:buClr>
              </a:pPr>
              <a:r>
                <a:rPr lang="ru-RU" sz="1143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19757" y="802694"/>
            <a:ext cx="7846507" cy="395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EA909D4-919F-4C3D-88F9-7DF848F02718}"/>
              </a:ext>
            </a:extLst>
          </p:cNvPr>
          <p:cNvGrpSpPr/>
          <p:nvPr userDrawn="1"/>
        </p:nvGrpSpPr>
        <p:grpSpPr>
          <a:xfrm>
            <a:off x="0" y="9022863"/>
            <a:ext cx="12801600" cy="578337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sz="3571" dirty="0">
                <a:solidFill>
                  <a:schemeClr val="tx1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sz="3571" dirty="0">
                <a:solidFill>
                  <a:schemeClr val="tx1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sz="3571" dirty="0">
                <a:solidFill>
                  <a:schemeClr val="tx1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sz="3571" dirty="0">
                <a:solidFill>
                  <a:schemeClr val="tx1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sz="3571" dirty="0">
                <a:solidFill>
                  <a:schemeClr val="tx1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sz="3571" dirty="0">
                <a:solidFill>
                  <a:schemeClr val="tx1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sz="3571" dirty="0">
                <a:solidFill>
                  <a:schemeClr val="tx1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sz="3571" dirty="0">
                <a:solidFill>
                  <a:schemeClr val="tx1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559037"/>
            <a:ext cx="176399" cy="887466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3571" dirty="0">
              <a:solidFill>
                <a:schemeClr val="tx1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DA68A6F0-9DAD-4462-A4D4-CE46486AC730}"/>
              </a:ext>
            </a:extLst>
          </p:cNvPr>
          <p:cNvGrpSpPr/>
          <p:nvPr userDrawn="1"/>
        </p:nvGrpSpPr>
        <p:grpSpPr>
          <a:xfrm>
            <a:off x="8330454" y="548133"/>
            <a:ext cx="4362441" cy="902260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</p:grpSp>
    </p:spTree>
    <p:extLst>
      <p:ext uri="{BB962C8B-B14F-4D97-AF65-F5344CB8AC3E}">
        <p14:creationId xmlns:p14="http://schemas.microsoft.com/office/powerpoint/2010/main" val="3126787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</p:sldLayoutIdLst>
  <p:hf hdr="0" ftr="0" dt="0"/>
  <p:txStyles>
    <p:titleStyle>
      <a:lvl1pPr algn="l" defTabSz="1278918" rtl="0" eaLnBrk="1" fontAlgn="base" hangingPunct="1">
        <a:spcBef>
          <a:spcPct val="0"/>
        </a:spcBef>
        <a:spcAft>
          <a:spcPct val="0"/>
        </a:spcAft>
        <a:tabLst>
          <a:tab pos="385489" algn="l"/>
        </a:tabLst>
        <a:defRPr sz="2571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278918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2pPr>
      <a:lvl3pPr algn="l" defTabSz="1278918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3pPr>
      <a:lvl4pPr algn="l" defTabSz="1278918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4pPr>
      <a:lvl5pPr algn="l" defTabSz="1278918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5pPr>
      <a:lvl6pPr marL="653064" algn="l" defTabSz="1278918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6pPr>
      <a:lvl7pPr marL="1306129" algn="l" defTabSz="1278918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7pPr>
      <a:lvl8pPr marL="1959193" algn="l" defTabSz="1278918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8pPr>
      <a:lvl9pPr marL="2612258" algn="l" defTabSz="1278918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78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2000" baseline="0">
          <a:solidFill>
            <a:schemeClr val="tx1"/>
          </a:solidFill>
          <a:latin typeface="+mn-lt"/>
          <a:ea typeface="+mn-ea"/>
          <a:cs typeface="+mn-cs"/>
        </a:defRPr>
      </a:lvl1pPr>
      <a:lvl2pPr marL="276645" indent="-274378" algn="l" defTabSz="1278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2000" baseline="0">
          <a:solidFill>
            <a:schemeClr val="tx1"/>
          </a:solidFill>
          <a:latin typeface="+mn-lt"/>
        </a:defRPr>
      </a:lvl2pPr>
      <a:lvl3pPr marL="653064" indent="-374152" algn="l" defTabSz="1278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2000" baseline="0">
          <a:solidFill>
            <a:schemeClr val="tx1"/>
          </a:solidFill>
          <a:latin typeface="+mn-lt"/>
        </a:defRPr>
      </a:lvl3pPr>
      <a:lvl4pPr marL="877556" indent="-222223" algn="l" defTabSz="1278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2000" baseline="0">
          <a:solidFill>
            <a:schemeClr val="tx1"/>
          </a:solidFill>
          <a:latin typeface="+mn-lt"/>
        </a:defRPr>
      </a:lvl4pPr>
      <a:lvl5pPr marL="1071026" indent="-185942" algn="l" defTabSz="1278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00" baseline="0">
          <a:solidFill>
            <a:schemeClr val="tx1"/>
          </a:solidFill>
          <a:latin typeface="+mn-lt"/>
        </a:defRPr>
      </a:lvl5pPr>
      <a:lvl6pPr marL="1071026" indent="-185942" algn="l" defTabSz="1278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5" baseline="0">
          <a:solidFill>
            <a:schemeClr val="tx1"/>
          </a:solidFill>
          <a:latin typeface="+mn-lt"/>
        </a:defRPr>
      </a:lvl6pPr>
      <a:lvl7pPr marL="1071026" indent="-185942" algn="l" defTabSz="1278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5" baseline="0">
          <a:solidFill>
            <a:schemeClr val="tx1"/>
          </a:solidFill>
          <a:latin typeface="+mn-lt"/>
        </a:defRPr>
      </a:lvl7pPr>
      <a:lvl8pPr marL="1071026" indent="-185942" algn="l" defTabSz="1278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5" baseline="0">
          <a:solidFill>
            <a:schemeClr val="tx1"/>
          </a:solidFill>
          <a:latin typeface="+mn-lt"/>
        </a:defRPr>
      </a:lvl8pPr>
      <a:lvl9pPr marL="1071026" indent="-185942" algn="l" defTabSz="1278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5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30612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1pPr>
      <a:lvl2pPr marL="653064" algn="l" defTabSz="130612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2pPr>
      <a:lvl3pPr marL="1306129" algn="l" defTabSz="130612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3pPr>
      <a:lvl4pPr marL="1959193" algn="l" defTabSz="130612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4pPr>
      <a:lvl5pPr marL="2612258" algn="l" defTabSz="130612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5pPr>
      <a:lvl6pPr marL="3265322" algn="l" defTabSz="130612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6pPr>
      <a:lvl7pPr marL="3918387" algn="l" defTabSz="130612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7pPr>
      <a:lvl8pPr marL="4571451" algn="l" defTabSz="130612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8pPr>
      <a:lvl9pPr marL="5224516" algn="l" defTabSz="130612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2187" y="3216424"/>
            <a:ext cx="6564637" cy="3252679"/>
          </a:xfrm>
        </p:spPr>
        <p:txBody>
          <a:bodyPr>
            <a:noAutofit/>
          </a:bodyPr>
          <a:lstStyle/>
          <a:p>
            <a:pPr algn="ctr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О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льготном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кредитовании для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оддержания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и сохранения занятости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соответствии с постановлением Правительства РФ от 02.04.2020 №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422</a:t>
            </a:r>
            <a:endParaRPr lang="ru-RU" sz="24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228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5520" y="748155"/>
            <a:ext cx="7665480" cy="887520"/>
          </a:xfrm>
        </p:spPr>
        <p:txBody>
          <a:bodyPr>
            <a:noAutofit/>
          </a:bodyPr>
          <a:lstStyle/>
          <a:p>
            <a:pPr algn="l"/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й механизм господдержки в рамках Постановления Правительства от 02.04.2020 № </a:t>
            </a: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2 </a:t>
            </a:r>
            <a:endParaRPr lang="ru-RU" sz="1800" b="1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6610224"/>
              </p:ext>
            </p:extLst>
          </p:nvPr>
        </p:nvGraphicFramePr>
        <p:xfrm>
          <a:off x="830579" y="1770101"/>
          <a:ext cx="11615738" cy="63428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2</a:t>
            </a:fld>
            <a:endParaRPr lang="en-US" dirty="0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535520" y="1665201"/>
            <a:ext cx="7521464" cy="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8" name="Стрелка вправо 7"/>
          <p:cNvSpPr/>
          <p:nvPr/>
        </p:nvSpPr>
        <p:spPr>
          <a:xfrm rot="5400000">
            <a:off x="6472810" y="3762164"/>
            <a:ext cx="331276" cy="535940"/>
          </a:xfrm>
          <a:prstGeom prst="rightArrow">
            <a:avLst>
              <a:gd name="adj1" fmla="val 60000"/>
              <a:gd name="adj2" fmla="val 50000"/>
            </a:avLst>
          </a:prstGeom>
          <a:ln>
            <a:solidFill>
              <a:schemeClr val="bg2">
                <a:lumMod val="25000"/>
              </a:schemeClr>
            </a:solidFill>
          </a:ln>
        </p:spPr>
        <p:style>
          <a:lnRef idx="0">
            <a:schemeClr val="accent3">
              <a:shade val="90000"/>
              <a:hueOff val="280340"/>
              <a:satOff val="-6007"/>
              <a:lumOff val="30812"/>
              <a:alphaOff val="0"/>
            </a:schemeClr>
          </a:lnRef>
          <a:fillRef idx="1">
            <a:schemeClr val="accent3">
              <a:shade val="90000"/>
              <a:hueOff val="280340"/>
              <a:satOff val="-6007"/>
              <a:lumOff val="30812"/>
              <a:alphaOff val="0"/>
            </a:schemeClr>
          </a:fillRef>
          <a:effectRef idx="0">
            <a:schemeClr val="accent3">
              <a:shade val="90000"/>
              <a:hueOff val="280340"/>
              <a:satOff val="-6007"/>
              <a:lumOff val="30812"/>
              <a:alphaOff val="0"/>
            </a:schemeClr>
          </a:effectRef>
          <a:fontRef idx="minor">
            <a:schemeClr val="lt1"/>
          </a:fontRef>
        </p:style>
      </p:sp>
      <p:sp>
        <p:nvSpPr>
          <p:cNvPr id="20" name="Стрелка вправо 19"/>
          <p:cNvSpPr/>
          <p:nvPr/>
        </p:nvSpPr>
        <p:spPr>
          <a:xfrm rot="5400000">
            <a:off x="6482841" y="5006475"/>
            <a:ext cx="331276" cy="556002"/>
          </a:xfrm>
          <a:prstGeom prst="rightArrow">
            <a:avLst>
              <a:gd name="adj1" fmla="val 60000"/>
              <a:gd name="adj2" fmla="val 50000"/>
            </a:avLst>
          </a:prstGeom>
          <a:ln>
            <a:solidFill>
              <a:schemeClr val="bg2">
                <a:lumMod val="25000"/>
              </a:schemeClr>
            </a:solidFill>
          </a:ln>
        </p:spPr>
        <p:style>
          <a:lnRef idx="0">
            <a:schemeClr val="accent3">
              <a:shade val="90000"/>
              <a:hueOff val="280340"/>
              <a:satOff val="-6007"/>
              <a:lumOff val="30812"/>
              <a:alphaOff val="0"/>
            </a:schemeClr>
          </a:lnRef>
          <a:fillRef idx="1">
            <a:schemeClr val="accent3">
              <a:shade val="90000"/>
              <a:hueOff val="280340"/>
              <a:satOff val="-6007"/>
              <a:lumOff val="30812"/>
              <a:alphaOff val="0"/>
            </a:schemeClr>
          </a:fillRef>
          <a:effectRef idx="0">
            <a:schemeClr val="accent3">
              <a:shade val="90000"/>
              <a:hueOff val="280340"/>
              <a:satOff val="-6007"/>
              <a:lumOff val="30812"/>
              <a:alphaOff val="0"/>
            </a:schemeClr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130096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5520" y="748155"/>
            <a:ext cx="7665480" cy="887520"/>
          </a:xfrm>
        </p:spPr>
        <p:txBody>
          <a:bodyPr>
            <a:noAutofit/>
          </a:bodyPr>
          <a:lstStyle/>
          <a:p>
            <a:pPr algn="l"/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параметры Постановления </a:t>
            </a: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тельства РФ </a:t>
            </a:r>
            <a:b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.04.2020 № 422 по льготному кредитованию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3</a:t>
            </a:fld>
            <a:endParaRPr lang="en-US" dirty="0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535520" y="1776264"/>
            <a:ext cx="7521464" cy="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/>
        </p:nvGrpSpPr>
        <p:grpSpPr>
          <a:xfrm>
            <a:off x="604156" y="2056925"/>
            <a:ext cx="11593288" cy="1684889"/>
            <a:chOff x="712168" y="2352328"/>
            <a:chExt cx="11593288" cy="1368152"/>
          </a:xfrm>
        </p:grpSpPr>
        <p:sp>
          <p:nvSpPr>
            <p:cNvPr id="14" name="Пятиугольник 13"/>
            <p:cNvSpPr/>
            <p:nvPr/>
          </p:nvSpPr>
          <p:spPr>
            <a:xfrm>
              <a:off x="712168" y="2352328"/>
              <a:ext cx="2520280" cy="1368152"/>
            </a:xfrm>
            <a:prstGeom prst="homePlate">
              <a:avLst/>
            </a:prstGeom>
            <a:solidFill>
              <a:srgbClr val="FFE9A3"/>
            </a:solidFill>
            <a:ln>
              <a:solidFill>
                <a:srgbClr val="F9AD6F"/>
              </a:solidFill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65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 кого распространяется</a:t>
              </a:r>
              <a:endParaRPr lang="ru-RU" sz="165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Прямоугольник с одним вырезанным углом 14"/>
            <p:cNvSpPr/>
            <p:nvPr/>
          </p:nvSpPr>
          <p:spPr>
            <a:xfrm>
              <a:off x="3520480" y="2352328"/>
              <a:ext cx="8784976" cy="1368152"/>
            </a:xfrm>
            <a:prstGeom prst="snip1Rect">
              <a:avLst/>
            </a:prstGeom>
            <a:solidFill>
              <a:srgbClr val="EDF6D6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бъекты МСП – </a:t>
              </a: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юридические лица и индивидуальные предприниматели</a:t>
              </a:r>
              <a:endPara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существляют деятельность </a:t>
              </a: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иболее пострадавших отраслях (ПП 434, см. слайд 13)</a:t>
              </a:r>
            </a:p>
            <a:p>
              <a:pPr marL="540000" indent="-285750">
                <a:buFont typeface="Arial" panose="020B0604020202020204" pitchFamily="34" charset="0"/>
                <a:buChar char="•"/>
              </a:pP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лиент-МСП, относящийся 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 категории «малое предприятие» или «</a:t>
              </a:r>
              <a:r>
                <a:rPr lang="ru-RU" sz="1400" b="1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икропредприятие</a:t>
              </a: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, 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пределяется по основному или дополнительным видам экономической </a:t>
              </a: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еятельности</a:t>
              </a:r>
            </a:p>
            <a:p>
              <a:pPr marL="540000" indent="-285750">
                <a:buFont typeface="Arial" panose="020B0604020202020204" pitchFamily="34" charset="0"/>
                <a:buChar char="•"/>
              </a:pP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лиент, 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 относящийся к категории «малое предприятие» или «</a:t>
              </a:r>
              <a:r>
                <a:rPr lang="ru-RU" sz="1400" b="1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икропредприятие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, определяется по основному виду экономической деятельности</a:t>
              </a: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627711" y="3888295"/>
            <a:ext cx="11593288" cy="1279845"/>
            <a:chOff x="712168" y="2352328"/>
            <a:chExt cx="11593288" cy="1388896"/>
          </a:xfrm>
        </p:grpSpPr>
        <p:sp>
          <p:nvSpPr>
            <p:cNvPr id="23" name="Пятиугольник 22"/>
            <p:cNvSpPr/>
            <p:nvPr/>
          </p:nvSpPr>
          <p:spPr>
            <a:xfrm>
              <a:off x="712168" y="2352328"/>
              <a:ext cx="2520280" cy="1368152"/>
            </a:xfrm>
            <a:prstGeom prst="homePlate">
              <a:avLst/>
            </a:prstGeom>
            <a:solidFill>
              <a:srgbClr val="FFE9A3"/>
            </a:solidFill>
            <a:ln>
              <a:solidFill>
                <a:srgbClr val="F9AD6F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7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словия получения кредита</a:t>
              </a:r>
            </a:p>
          </p:txBody>
        </p:sp>
        <p:sp>
          <p:nvSpPr>
            <p:cNvPr id="24" name="Прямоугольник с одним вырезанным углом 23"/>
            <p:cNvSpPr/>
            <p:nvPr/>
          </p:nvSpPr>
          <p:spPr>
            <a:xfrm>
              <a:off x="3520480" y="2373072"/>
              <a:ext cx="8784976" cy="1368152"/>
            </a:xfrm>
            <a:prstGeom prst="snip1Rect">
              <a:avLst/>
            </a:prstGeom>
            <a:solidFill>
              <a:srgbClr val="EDF6D6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ношении компании не должна быть введена процедура банкротства, </a:t>
              </a:r>
              <a:endParaRPr lang="ru-RU" sz="14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сутствует 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иостановление </a:t>
              </a: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еятельности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личество 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ботников Клиента, не относящегося к категории «малое предприятие» и «</a:t>
              </a:r>
              <a:r>
                <a:rPr lang="ru-RU" sz="1400" b="1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икропредприятие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, в течение </a:t>
              </a: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четного месяца 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ставляет не менее 90% количества работников в </a:t>
              </a: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едыдущем месяце</a:t>
              </a:r>
              <a:endPara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5" name="Группа 24"/>
          <p:cNvGrpSpPr/>
          <p:nvPr/>
        </p:nvGrpSpPr>
        <p:grpSpPr>
          <a:xfrm>
            <a:off x="622557" y="5333735"/>
            <a:ext cx="11593288" cy="865709"/>
            <a:chOff x="712168" y="2352328"/>
            <a:chExt cx="11593288" cy="1368152"/>
          </a:xfrm>
        </p:grpSpPr>
        <p:sp>
          <p:nvSpPr>
            <p:cNvPr id="26" name="Пятиугольник 25"/>
            <p:cNvSpPr/>
            <p:nvPr/>
          </p:nvSpPr>
          <p:spPr>
            <a:xfrm>
              <a:off x="712168" y="2352328"/>
              <a:ext cx="2520280" cy="1368152"/>
            </a:xfrm>
            <a:prstGeom prst="homePlate">
              <a:avLst/>
            </a:prstGeom>
            <a:solidFill>
              <a:srgbClr val="FFE9A3"/>
            </a:solidFill>
            <a:ln>
              <a:solidFill>
                <a:srgbClr val="F9AD6F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7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змер кредита</a:t>
              </a:r>
            </a:p>
          </p:txBody>
        </p:sp>
        <p:sp>
          <p:nvSpPr>
            <p:cNvPr id="27" name="Прямоугольник с одним вырезанным углом 26"/>
            <p:cNvSpPr/>
            <p:nvPr/>
          </p:nvSpPr>
          <p:spPr>
            <a:xfrm>
              <a:off x="3520480" y="2352328"/>
              <a:ext cx="8784976" cy="1368152"/>
            </a:xfrm>
            <a:prstGeom prst="snip1Rect">
              <a:avLst/>
            </a:prstGeom>
            <a:solidFill>
              <a:srgbClr val="EDF6D6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аксимальная сумма кредита определяется как произведение расчетного размера оплаты труда, численности работников заемщика и периода субсидирования (6 месяцев)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счетный размер ОТ = МРОТ + К районный + надбавки (с учетом страховых взносов) </a:t>
              </a:r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622557" y="6365039"/>
            <a:ext cx="11593288" cy="726496"/>
            <a:chOff x="712168" y="2352328"/>
            <a:chExt cx="11593288" cy="1368152"/>
          </a:xfrm>
        </p:grpSpPr>
        <p:sp>
          <p:nvSpPr>
            <p:cNvPr id="29" name="Пятиугольник 28"/>
            <p:cNvSpPr/>
            <p:nvPr/>
          </p:nvSpPr>
          <p:spPr>
            <a:xfrm>
              <a:off x="712168" y="2352328"/>
              <a:ext cx="2520280" cy="1368152"/>
            </a:xfrm>
            <a:prstGeom prst="homePlate">
              <a:avLst/>
            </a:prstGeom>
            <a:solidFill>
              <a:srgbClr val="FFE9A3"/>
            </a:solidFill>
            <a:ln>
              <a:solidFill>
                <a:srgbClr val="F9AD6F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7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рок кредита</a:t>
              </a:r>
            </a:p>
          </p:txBody>
        </p:sp>
        <p:sp>
          <p:nvSpPr>
            <p:cNvPr id="30" name="Прямоугольник с одним вырезанным углом 29"/>
            <p:cNvSpPr/>
            <p:nvPr/>
          </p:nvSpPr>
          <p:spPr>
            <a:xfrm>
              <a:off x="3520480" y="2352328"/>
              <a:ext cx="8784976" cy="1368152"/>
            </a:xfrm>
            <a:prstGeom prst="snip1Rect">
              <a:avLst/>
            </a:prstGeom>
            <a:solidFill>
              <a:srgbClr val="EDF6D6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 более 12 месяцев (кредитный договор должен быть заключен с 30.03.2020 по 01.10.2020)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ериод субсидирования – 6 месяцев (до 3</a:t>
              </a:r>
              <a:r>
                <a:rPr lang="en-US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1</a:t>
              </a:r>
              <a:r>
                <a:rPr lang="en-US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2020</a:t>
              </a: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 </a:t>
              </a:r>
              <a:endPara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1" name="Группа 30"/>
          <p:cNvGrpSpPr/>
          <p:nvPr/>
        </p:nvGrpSpPr>
        <p:grpSpPr>
          <a:xfrm>
            <a:off x="622557" y="8256984"/>
            <a:ext cx="11593288" cy="702315"/>
            <a:chOff x="712168" y="2352328"/>
            <a:chExt cx="11593288" cy="1368152"/>
          </a:xfrm>
        </p:grpSpPr>
        <p:sp>
          <p:nvSpPr>
            <p:cNvPr id="32" name="Пятиугольник 31"/>
            <p:cNvSpPr/>
            <p:nvPr/>
          </p:nvSpPr>
          <p:spPr>
            <a:xfrm>
              <a:off x="712168" y="2352328"/>
              <a:ext cx="2520280" cy="1368152"/>
            </a:xfrm>
            <a:prstGeom prst="homePlate">
              <a:avLst/>
            </a:prstGeom>
            <a:solidFill>
              <a:srgbClr val="FFE9A3"/>
            </a:solidFill>
            <a:ln>
              <a:solidFill>
                <a:srgbClr val="F9AD6F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7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рядок погашения кредита</a:t>
              </a:r>
            </a:p>
          </p:txBody>
        </p:sp>
        <p:sp>
          <p:nvSpPr>
            <p:cNvPr id="33" name="Прямоугольник с одним вырезанным углом 32"/>
            <p:cNvSpPr/>
            <p:nvPr/>
          </p:nvSpPr>
          <p:spPr>
            <a:xfrm>
              <a:off x="3520480" y="2352328"/>
              <a:ext cx="8784976" cy="1368152"/>
            </a:xfrm>
            <a:prstGeom prst="snip1Rect">
              <a:avLst/>
            </a:prstGeom>
            <a:solidFill>
              <a:srgbClr val="EDF6D6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конце срока кредитования</a:t>
              </a:r>
            </a:p>
            <a:p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ибо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 графику начиная с 01.10.2020</a:t>
              </a: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622557" y="7254600"/>
            <a:ext cx="11593288" cy="859157"/>
            <a:chOff x="712168" y="2352328"/>
            <a:chExt cx="11593288" cy="1368152"/>
          </a:xfrm>
        </p:grpSpPr>
        <p:sp>
          <p:nvSpPr>
            <p:cNvPr id="21" name="Пятиугольник 20"/>
            <p:cNvSpPr/>
            <p:nvPr/>
          </p:nvSpPr>
          <p:spPr>
            <a:xfrm>
              <a:off x="712168" y="2352328"/>
              <a:ext cx="2520280" cy="1368152"/>
            </a:xfrm>
            <a:prstGeom prst="homePlate">
              <a:avLst/>
            </a:prstGeom>
            <a:solidFill>
              <a:srgbClr val="FFE9A3"/>
            </a:solidFill>
            <a:ln>
              <a:solidFill>
                <a:srgbClr val="F9AD6F"/>
              </a:solidFill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7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центная ставка</a:t>
              </a:r>
            </a:p>
          </p:txBody>
        </p:sp>
        <p:sp>
          <p:nvSpPr>
            <p:cNvPr id="34" name="Прямоугольник с одним вырезанным углом 33"/>
            <p:cNvSpPr/>
            <p:nvPr/>
          </p:nvSpPr>
          <p:spPr>
            <a:xfrm>
              <a:off x="3520480" y="2352328"/>
              <a:ext cx="8784976" cy="1368152"/>
            </a:xfrm>
            <a:prstGeom prst="snip1Rect">
              <a:avLst/>
            </a:prstGeom>
            <a:solidFill>
              <a:srgbClr val="EDF6D6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% ( в течение 6 месяцев до </a:t>
              </a: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0.11.2020)</a:t>
              </a:r>
              <a:endPara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алее </a:t>
              </a: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– в 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змере ставки, полученной Банком по программе льготного рефинансирования Банка </a:t>
              </a: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оссии</a:t>
              </a:r>
              <a:endPara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13374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5520" y="748155"/>
            <a:ext cx="7665480" cy="887520"/>
          </a:xfrm>
        </p:spPr>
        <p:txBody>
          <a:bodyPr>
            <a:noAutofit/>
          </a:bodyPr>
          <a:lstStyle/>
          <a:p>
            <a:pPr algn="l"/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параметры льготного кредитования </a:t>
            </a:r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а </a:t>
            </a: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учетом </a:t>
            </a:r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новления Правительства от 02.04.2020 № </a:t>
            </a: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2</a:t>
            </a:r>
            <a:endParaRPr lang="ru-RU" sz="1800" b="1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822472" y="9257977"/>
            <a:ext cx="2987040" cy="511175"/>
          </a:xfrm>
        </p:spPr>
        <p:txBody>
          <a:bodyPr/>
          <a:lstStyle/>
          <a:p>
            <a:fld id="{6DDF61C1-2457-E848-BB6B-E1DA9A549776}" type="slidenum">
              <a:rPr lang="en-US" smtClean="0"/>
              <a:pPr/>
              <a:t>4</a:t>
            </a:fld>
            <a:endParaRPr lang="en-US" dirty="0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535519" y="1635675"/>
            <a:ext cx="7521464" cy="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grpSp>
        <p:nvGrpSpPr>
          <p:cNvPr id="10" name="Группа 9"/>
          <p:cNvGrpSpPr/>
          <p:nvPr/>
        </p:nvGrpSpPr>
        <p:grpSpPr>
          <a:xfrm>
            <a:off x="601110" y="1846372"/>
            <a:ext cx="12054755" cy="1092607"/>
            <a:chOff x="628367" y="2134404"/>
            <a:chExt cx="12054755" cy="1092607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628367" y="2135219"/>
              <a:ext cx="2316049" cy="510778"/>
            </a:xfrm>
            <a:prstGeom prst="roundRect">
              <a:avLst/>
            </a:prstGeom>
            <a:solidFill>
              <a:srgbClr val="FFF4D1"/>
            </a:solidFill>
            <a:ln w="9525" cap="flat" cmpd="sng" algn="ctr">
              <a:solidFill>
                <a:srgbClr val="9BBB5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лиент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3307723" y="2134404"/>
              <a:ext cx="9375399" cy="1092607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 cap="flat" cmpd="sng" algn="ctr">
              <a:solidFill>
                <a:srgbClr val="9BBB5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>
              <a:spAutoFit/>
            </a:bodyPr>
            <a:lstStyle/>
            <a:p>
              <a:pPr lvl="0" defTabSz="914400">
                <a:defRPr/>
              </a:pP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Юридическое лицо / Индивидуальный предприниматель (в </a:t>
              </a:r>
              <a:r>
                <a:rPr lang="ru-RU" sz="1300" b="1" kern="0" dirty="0" err="1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.ч</a:t>
              </a: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ИП-глава КФХ):</a:t>
              </a:r>
            </a:p>
            <a:p>
              <a:pPr lvl="0" defTabSz="914400">
                <a:defRPr/>
              </a:pP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</a:t>
              </a: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обладает 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атусом налогового резидента Российской Федерации;</a:t>
              </a:r>
            </a:p>
            <a:p>
              <a:pPr lvl="0" defTabSz="914400">
                <a:defRPr/>
              </a:pP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 соответствует 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ребованиям Постановления № 422;</a:t>
              </a:r>
            </a:p>
            <a:p>
              <a:pPr lvl="0" defTabSz="914400">
                <a:defRPr/>
              </a:pP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 осуществляет 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еятельность не менее 1 года в одной или нескольких </a:t>
              </a: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раслях, наиболее пострадавших из-за 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спространения новой </a:t>
              </a:r>
              <a:r>
                <a:rPr lang="ru-RU" sz="1300" b="1" kern="0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ронавирусной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инфекции (согласно ПП</a:t>
              </a:r>
              <a:r>
                <a:rPr lang="en-US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4</a:t>
              </a: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4)</a:t>
              </a: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601111" y="2856384"/>
            <a:ext cx="12054753" cy="578882"/>
            <a:chOff x="627933" y="1825606"/>
            <a:chExt cx="12054753" cy="578882"/>
          </a:xfrm>
        </p:grpSpPr>
        <p:sp>
          <p:nvSpPr>
            <p:cNvPr id="14" name="Скругленный прямоугольник 13"/>
            <p:cNvSpPr/>
            <p:nvPr/>
          </p:nvSpPr>
          <p:spPr>
            <a:xfrm>
              <a:off x="627933" y="1825606"/>
              <a:ext cx="2317299" cy="578882"/>
            </a:xfrm>
            <a:prstGeom prst="roundRect">
              <a:avLst/>
            </a:prstGeom>
            <a:solidFill>
              <a:srgbClr val="FFF4D1"/>
            </a:solidFill>
            <a:ln w="9525" cap="flat" cmpd="sng" algn="ctr">
              <a:solidFill>
                <a:srgbClr val="9BBB5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елевое </a:t>
              </a:r>
              <a:r>
                <a:rPr lang="ru-RU" sz="14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спользование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Скругленный прямоугольник 12"/>
            <p:cNvSpPr/>
            <p:nvPr/>
          </p:nvSpPr>
          <p:spPr>
            <a:xfrm>
              <a:off x="3298961" y="1969622"/>
              <a:ext cx="9383725" cy="29238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 cap="flat" cmpd="sng" algn="ctr">
              <a:solidFill>
                <a:srgbClr val="9BBB5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отложные 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ужды - выплата заработной платы сотрудникам клиента (с учетом страховых взносов</a:t>
              </a: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endParaRPr lang="ru-RU" sz="130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601111" y="3360440"/>
            <a:ext cx="12054753" cy="1092607"/>
            <a:chOff x="628368" y="2010003"/>
            <a:chExt cx="12054753" cy="1092607"/>
          </a:xfrm>
        </p:grpSpPr>
        <p:sp>
          <p:nvSpPr>
            <p:cNvPr id="19" name="Скругленный прямоугольник 18"/>
            <p:cNvSpPr/>
            <p:nvPr/>
          </p:nvSpPr>
          <p:spPr>
            <a:xfrm>
              <a:off x="628368" y="2251243"/>
              <a:ext cx="2316049" cy="510778"/>
            </a:xfrm>
            <a:prstGeom prst="roundRect">
              <a:avLst/>
            </a:prstGeom>
            <a:solidFill>
              <a:srgbClr val="FFF4D1"/>
            </a:solidFill>
            <a:ln w="9525" cap="flat" cmpd="sng" algn="ctr">
              <a:solidFill>
                <a:srgbClr val="9BBB5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 кредита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Скругленный прямоугольник 17"/>
            <p:cNvSpPr/>
            <p:nvPr/>
          </p:nvSpPr>
          <p:spPr>
            <a:xfrm>
              <a:off x="3307723" y="2010003"/>
              <a:ext cx="9375398" cy="1092607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 cap="flat" cmpd="sng" algn="ctr">
              <a:solidFill>
                <a:srgbClr val="9BBB5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>
              <a:spAutoFit/>
            </a:bodyPr>
            <a:lstStyle/>
            <a:p>
              <a:pPr lvl="0" defTabSz="914400">
                <a:defRPr/>
              </a:pPr>
              <a:r>
                <a:rPr lang="ru-RU" sz="1300" b="1" kern="0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пределяется 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ак произведение расчетного размера оплаты труда, численности работников </a:t>
              </a: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емщика  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 периода </a:t>
              </a: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бсидирования (6 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есяцев)</a:t>
              </a:r>
            </a:p>
            <a:p>
              <a:pPr lvl="0" defTabSz="914400">
                <a:defRPr/>
              </a:pP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счетный размер ОТ = МРОТ + К районный + надбавки (с учетом страховых взносов</a:t>
              </a: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  <a:p>
              <a:pPr lvl="0" defTabSz="914400">
                <a:defRPr/>
              </a:pPr>
              <a:r>
                <a:rPr lang="ru-RU" sz="1300" b="1" kern="0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        ! </a:t>
              </a:r>
              <a:r>
                <a:rPr lang="ru-RU" sz="1300" b="1" kern="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 более среднесписочной численности за 2019 год</a:t>
              </a:r>
            </a:p>
            <a:p>
              <a:pPr lvl="0" defTabSz="914400">
                <a:defRPr/>
              </a:pPr>
              <a:r>
                <a:rPr lang="ru-RU" sz="1300" b="1" kern="0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        ! </a:t>
              </a:r>
              <a:r>
                <a:rPr lang="ru-RU" sz="1300" b="1" kern="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 более количества застрахованных лиц, переданных в ПФР за предыдущий месяц </a:t>
              </a:r>
              <a:endParaRPr lang="ru-RU" sz="1300" b="1" kern="0" dirty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545481" y="4488060"/>
            <a:ext cx="12110383" cy="340519"/>
            <a:chOff x="545882" y="2289628"/>
            <a:chExt cx="11906956" cy="340519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545882" y="2289628"/>
              <a:ext cx="2316049" cy="340519"/>
            </a:xfrm>
            <a:prstGeom prst="roundRect">
              <a:avLst/>
            </a:prstGeom>
            <a:solidFill>
              <a:srgbClr val="FFF4D1"/>
            </a:solidFill>
            <a:ln w="9525" cap="flat" cmpd="sng" algn="ctr">
              <a:solidFill>
                <a:srgbClr val="9BBB5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рок </a:t>
              </a:r>
              <a:r>
                <a:rPr lang="ru-RU" sz="14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редита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Скругленный прямоугольник 22"/>
            <p:cNvSpPr/>
            <p:nvPr/>
          </p:nvSpPr>
          <p:spPr>
            <a:xfrm>
              <a:off x="3226738" y="2337759"/>
              <a:ext cx="9226100" cy="292388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 cap="flat" cmpd="sng" algn="ctr">
              <a:solidFill>
                <a:srgbClr val="9BBB5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>
              <a:spAutoFit/>
            </a:bodyPr>
            <a:lstStyle/>
            <a:p>
              <a:pPr lvl="0" defTabSz="914400">
                <a:defRPr/>
              </a:pPr>
              <a:r>
                <a:rPr lang="ru-RU" sz="1300" b="1" kern="0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 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олее 12 </a:t>
              </a: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есяцев, при этом кредитная сделка может быть заключена не позднее 01.10.2020</a:t>
              </a:r>
              <a:endParaRPr lang="ru-RU" sz="140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6" name="Группа 25"/>
          <p:cNvGrpSpPr/>
          <p:nvPr/>
        </p:nvGrpSpPr>
        <p:grpSpPr>
          <a:xfrm>
            <a:off x="613704" y="4943531"/>
            <a:ext cx="12075840" cy="510778"/>
            <a:chOff x="628367" y="2194594"/>
            <a:chExt cx="12120166" cy="510778"/>
          </a:xfrm>
        </p:grpSpPr>
        <p:sp>
          <p:nvSpPr>
            <p:cNvPr id="29" name="Скругленный прямоугольник 28"/>
            <p:cNvSpPr/>
            <p:nvPr/>
          </p:nvSpPr>
          <p:spPr>
            <a:xfrm>
              <a:off x="628367" y="2194594"/>
              <a:ext cx="2316049" cy="510778"/>
            </a:xfrm>
            <a:prstGeom prst="roundRect">
              <a:avLst/>
            </a:prstGeom>
            <a:solidFill>
              <a:srgbClr val="FFF4D1"/>
            </a:solidFill>
            <a:ln w="9525" cap="flat" cmpd="sng" algn="ctr">
              <a:solidFill>
                <a:srgbClr val="9BBB5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центная ставка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Скругленный прямоугольник 27"/>
            <p:cNvSpPr/>
            <p:nvPr/>
          </p:nvSpPr>
          <p:spPr>
            <a:xfrm>
              <a:off x="3310351" y="2212929"/>
              <a:ext cx="9438182" cy="492443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 cap="flat" cmpd="sng" algn="ctr">
              <a:solidFill>
                <a:srgbClr val="9BBB5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>
              <a:spAutoFit/>
            </a:bodyPr>
            <a:lstStyle/>
            <a:p>
              <a:pPr lvl="0" defTabSz="914400">
                <a:defRPr/>
              </a:pPr>
              <a:r>
                <a:rPr lang="ru-RU" sz="1300" b="1" kern="0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% годовых - в течение первых 6 месяцев кредитования до 3</a:t>
              </a:r>
              <a:r>
                <a:rPr lang="en-US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1</a:t>
              </a:r>
              <a:r>
                <a:rPr lang="en-US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2020</a:t>
              </a:r>
              <a:r>
                <a:rPr lang="en-US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зъяснения МЭР</a:t>
              </a:r>
              <a:r>
                <a:rPr lang="en-US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endParaRPr lang="ru-RU" sz="130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lvl="0" defTabSz="914400">
                <a:defRPr/>
              </a:pPr>
              <a:r>
                <a:rPr lang="ru-RU" sz="1300" b="1" kern="0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змере ставки льготного рефинансирования Банка </a:t>
              </a: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оссии 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– начиная с 7-го месяца кредитования</a:t>
              </a: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564765" y="7091656"/>
            <a:ext cx="12091099" cy="492443"/>
            <a:chOff x="628367" y="2174250"/>
            <a:chExt cx="12018405" cy="411294"/>
          </a:xfrm>
        </p:grpSpPr>
        <p:sp>
          <p:nvSpPr>
            <p:cNvPr id="41" name="Скругленный прямоугольник 40"/>
            <p:cNvSpPr/>
            <p:nvPr/>
          </p:nvSpPr>
          <p:spPr>
            <a:xfrm>
              <a:off x="628367" y="2235494"/>
              <a:ext cx="2316049" cy="284405"/>
            </a:xfrm>
            <a:prstGeom prst="roundRect">
              <a:avLst/>
            </a:prstGeom>
            <a:solidFill>
              <a:srgbClr val="FFF4D1"/>
            </a:solidFill>
            <a:ln w="9525" cap="flat" cmpd="sng" algn="ctr">
              <a:solidFill>
                <a:srgbClr val="9BBB5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рядок </a:t>
              </a:r>
              <a:r>
                <a:rPr lang="ru-RU" sz="14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гашения</a:t>
              </a: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Скругленный прямоугольник 42"/>
            <p:cNvSpPr/>
            <p:nvPr/>
          </p:nvSpPr>
          <p:spPr>
            <a:xfrm>
              <a:off x="3287079" y="2174250"/>
              <a:ext cx="9359693" cy="411294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 cap="flat" cmpd="sng" algn="ctr">
              <a:solidFill>
                <a:srgbClr val="9BBB5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>
              <a:spAutoFit/>
            </a:bodyPr>
            <a:lstStyle/>
            <a:p>
              <a:pPr lvl="0" defTabSz="914400">
                <a:defRPr/>
              </a:pPr>
              <a:r>
                <a:rPr lang="ru-RU" sz="1300" b="1" kern="0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ьготный 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ериод – 6 мес. (до 01.10.2020)</a:t>
              </a:r>
              <a:endParaRPr lang="en-US" sz="130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lvl="0" defTabSz="914400">
                <a:defRPr/>
              </a:pPr>
              <a:r>
                <a:rPr lang="ru-RU" sz="1300" b="1" kern="0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гашение 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 индивидуальному графику после 01.10.2020</a:t>
              </a:r>
            </a:p>
          </p:txBody>
        </p:sp>
      </p:grpSp>
      <p:grpSp>
        <p:nvGrpSpPr>
          <p:cNvPr id="43" name="Группа 42"/>
          <p:cNvGrpSpPr/>
          <p:nvPr/>
        </p:nvGrpSpPr>
        <p:grpSpPr>
          <a:xfrm>
            <a:off x="601110" y="5616360"/>
            <a:ext cx="12064382" cy="1297038"/>
            <a:chOff x="671003" y="2209175"/>
            <a:chExt cx="12064382" cy="1297038"/>
          </a:xfrm>
        </p:grpSpPr>
        <p:sp>
          <p:nvSpPr>
            <p:cNvPr id="46" name="Скругленный прямоугольник 45"/>
            <p:cNvSpPr/>
            <p:nvPr/>
          </p:nvSpPr>
          <p:spPr>
            <a:xfrm>
              <a:off x="671003" y="2209175"/>
              <a:ext cx="2316049" cy="510778"/>
            </a:xfrm>
            <a:prstGeom prst="roundRect">
              <a:avLst/>
            </a:prstGeom>
            <a:solidFill>
              <a:srgbClr val="FFF4D1"/>
            </a:solidFill>
            <a:ln w="9525" cap="flat" cmpd="sng" algn="ctr">
              <a:solidFill>
                <a:srgbClr val="9BBB5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рядок выдачи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Скругленный прямоугольник 37"/>
            <p:cNvSpPr/>
            <p:nvPr/>
          </p:nvSpPr>
          <p:spPr>
            <a:xfrm>
              <a:off x="3331776" y="2213551"/>
              <a:ext cx="9403609" cy="1292662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 cap="flat" cmpd="sng" algn="ctr">
              <a:solidFill>
                <a:srgbClr val="9BBB5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square">
              <a:spAutoFit/>
            </a:bodyPr>
            <a:lstStyle/>
            <a:p>
              <a:pPr lvl="0" defTabSz="914400">
                <a:defRPr/>
              </a:pPr>
              <a:r>
                <a:rPr lang="ru-RU" sz="1300" b="1" kern="0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300" b="1" kern="0" dirty="0" err="1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возобновляемая</a:t>
              </a: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редитная линия (с лимитом выдачи)</a:t>
              </a:r>
            </a:p>
            <a:p>
              <a:pPr lvl="0" defTabSz="914400">
                <a:defRPr/>
              </a:pPr>
              <a:r>
                <a:rPr lang="ru-RU" sz="1300" b="1" kern="0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змер транша определяется </a:t>
              </a: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 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четом </a:t>
              </a: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счетного размера оплаты труда, численности работников, количества отработанных дней</a:t>
              </a:r>
            </a:p>
            <a:p>
              <a:pPr defTabSz="914400">
                <a:defRPr/>
              </a:pPr>
              <a:r>
                <a:rPr kumimoji="0" lang="ru-RU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                      ! </a:t>
              </a:r>
              <a:r>
                <a:rPr kumimoji="0" lang="ru-RU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На основании</a:t>
              </a:r>
              <a:r>
                <a:rPr kumimoji="0" lang="ru-RU" sz="1300" b="1" i="0" u="none" strike="noStrike" kern="0" cap="none" spc="0" normalizeH="0" noProof="0" dirty="0" smtClean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300" b="1" kern="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реднесписочной численности за 2019 </a:t>
              </a:r>
              <a:r>
                <a:rPr lang="ru-RU" sz="1300" b="1" kern="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од</a:t>
              </a:r>
              <a:endParaRPr kumimoji="0" lang="ru-RU" sz="1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defTabSz="914400">
                <a:defRPr/>
              </a:pPr>
              <a:r>
                <a:rPr lang="ru-RU" sz="1300" b="1" kern="0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ыдача 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существляется </a:t>
              </a:r>
              <a:r>
                <a:rPr lang="ru-RU" sz="1300" b="1" u="sng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 р/с Клиента в </a:t>
              </a:r>
              <a:r>
                <a:rPr lang="ru-RU" sz="1300" b="1" u="sng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нке </a:t>
              </a: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 </a:t>
              </a:r>
              <a:r>
                <a:rPr lang="ru-RU" sz="1300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следующим перечислением на счета работников Клиента, открытые в </a:t>
              </a:r>
              <a:r>
                <a:rPr lang="ru-RU" sz="1300" b="1" kern="0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нке</a:t>
              </a:r>
              <a:endPara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3140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2187" y="3216424"/>
            <a:ext cx="6492629" cy="3252679"/>
          </a:xfrm>
        </p:spPr>
        <p:txBody>
          <a:bodyPr>
            <a:noAutofit/>
          </a:bodyPr>
          <a:lstStyle/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ЛОЖЕНИЯ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7334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5520" y="748155"/>
            <a:ext cx="7665480" cy="887520"/>
          </a:xfrm>
        </p:spPr>
        <p:txBody>
          <a:bodyPr>
            <a:noAutofit/>
          </a:bodyPr>
          <a:lstStyle/>
          <a:p>
            <a:pPr algn="l"/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обеспечению сделки при кредитовании в рамках постановления № 422</a:t>
            </a:r>
            <a:endParaRPr lang="ru-RU" sz="1800" b="1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6</a:t>
            </a:fld>
            <a:endParaRPr lang="en-US" dirty="0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535519" y="1635675"/>
            <a:ext cx="7521464" cy="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AB04BC11-B60B-412A-83E1-A708314B6B54}"/>
              </a:ext>
            </a:extLst>
          </p:cNvPr>
          <p:cNvSpPr txBox="1"/>
          <p:nvPr/>
        </p:nvSpPr>
        <p:spPr>
          <a:xfrm>
            <a:off x="8345016" y="1652285"/>
            <a:ext cx="15462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Aft>
                <a:spcPts val="300"/>
              </a:spcAft>
            </a:pPr>
            <a:r>
              <a:rPr lang="ru-RU" sz="1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параметры ПП 422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B04BC11-B60B-412A-83E1-A708314B6B54}"/>
              </a:ext>
            </a:extLst>
          </p:cNvPr>
          <p:cNvSpPr txBox="1"/>
          <p:nvPr/>
        </p:nvSpPr>
        <p:spPr>
          <a:xfrm>
            <a:off x="9964435" y="1652285"/>
            <a:ext cx="15462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Aft>
                <a:spcPts val="300"/>
              </a:spcAft>
            </a:pPr>
            <a:r>
              <a:rPr lang="ru-RU" sz="1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</a:t>
            </a:r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параметры Банка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487413" y="264096"/>
            <a:ext cx="18788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Aft>
                <a:spcPts val="300"/>
              </a:spcAft>
            </a:pP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4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141572" y="2978918"/>
            <a:ext cx="10369152" cy="47025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07000"/>
              </a:lnSpc>
              <a:buFont typeface="Wingdings" panose="05000000000000000000" pitchFamily="2" charset="2"/>
              <a:buChar char="ü"/>
            </a:pPr>
            <a:r>
              <a:rPr lang="ru-RU" sz="28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ручительство «ВЭБ. РФ» - не менее 75% ОД (единственное основное обеспечение при соответствии Клиентов дополнительным требованиям)  </a:t>
            </a:r>
            <a:endParaRPr lang="ru-RU" sz="2800" b="1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</a:pPr>
            <a:endParaRPr lang="ru-RU" sz="28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>
              <a:lnSpc>
                <a:spcPct val="107000"/>
              </a:lnSpc>
              <a:buFont typeface="Wingdings" panose="05000000000000000000" pitchFamily="2" charset="2"/>
              <a:buChar char="ü"/>
            </a:pPr>
            <a:r>
              <a:rPr lang="ru-RU" sz="28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Иное ликвидное обеспечение – для достижения 100% уровня обеспеченности сделки (для иных Клиентов</a:t>
            </a:r>
            <a:r>
              <a:rPr lang="ru-RU" sz="28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</a:p>
          <a:p>
            <a:pPr>
              <a:lnSpc>
                <a:spcPct val="107000"/>
              </a:lnSpc>
            </a:pPr>
            <a:endParaRPr lang="ru-RU" sz="28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 indent="-457200">
              <a:lnSpc>
                <a:spcPct val="107000"/>
              </a:lnSpc>
              <a:buFont typeface="Wingdings" panose="05000000000000000000" pitchFamily="2" charset="2"/>
              <a:buChar char="ü"/>
            </a:pPr>
            <a:r>
              <a:rPr lang="ru-RU" sz="28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Поручительство </a:t>
            </a:r>
            <a:r>
              <a:rPr lang="ru-RU" sz="28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нефициарного</a:t>
            </a:r>
            <a:r>
              <a:rPr lang="ru-RU" sz="28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владельца Клиента - для всех категорий Клиентов</a:t>
            </a:r>
            <a:endParaRPr lang="ru-RU" sz="2800" b="1" kern="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4394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5520" y="696144"/>
            <a:ext cx="7665480" cy="887520"/>
          </a:xfrm>
        </p:spPr>
        <p:txBody>
          <a:bodyPr>
            <a:noAutofit/>
          </a:bodyPr>
          <a:lstStyle/>
          <a:p>
            <a:pPr algn="l"/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ы, предоставляемые для контроля численности работников Клиента при кредитовании в рамках постановления </a:t>
            </a:r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</a:t>
            </a: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2</a:t>
            </a:r>
            <a:endParaRPr lang="ru-RU" sz="1800" b="1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2161440" y="9207049"/>
            <a:ext cx="648072" cy="511175"/>
          </a:xfrm>
        </p:spPr>
        <p:txBody>
          <a:bodyPr/>
          <a:lstStyle/>
          <a:p>
            <a:fld id="{6DDF61C1-2457-E848-BB6B-E1DA9A549776}" type="slidenum">
              <a:rPr lang="en-US" smtClean="0"/>
              <a:pPr/>
              <a:t>7</a:t>
            </a:fld>
            <a:endParaRPr lang="en-US" dirty="0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535520" y="1635675"/>
            <a:ext cx="7521464" cy="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0249454"/>
              </p:ext>
            </p:extLst>
          </p:nvPr>
        </p:nvGraphicFramePr>
        <p:xfrm>
          <a:off x="928192" y="1992288"/>
          <a:ext cx="10801200" cy="6722774"/>
        </p:xfrm>
        <a:graphic>
          <a:graphicData uri="http://schemas.openxmlformats.org/drawingml/2006/table">
            <a:tbl>
              <a:tblPr firstRow="1" firstCol="1" bandRow="1"/>
              <a:tblGrid>
                <a:gridCol w="54726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3285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8182">
                <a:tc>
                  <a:txBody>
                    <a:bodyPr/>
                    <a:lstStyle/>
                    <a:p>
                      <a:pPr marL="0" marR="36830" indent="0" algn="ctr" defTabSz="128016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Документы на этапе экспертизы</a:t>
                      </a:r>
                      <a:endParaRPr lang="ru-RU" sz="1400" baseline="300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36830" indent="0" algn="ctr" defTabSz="128016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Документы на этапе</a:t>
                      </a:r>
                      <a:r>
                        <a:rPr lang="ru-RU" sz="1400" b="1" baseline="0" dirty="0" smtClean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 мониторинга</a:t>
                      </a:r>
                      <a:endParaRPr lang="ru-RU" sz="1400" baseline="300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3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74592">
                <a:tc>
                  <a:txBody>
                    <a:bodyPr/>
                    <a:lstStyle/>
                    <a:p>
                      <a:pPr marL="342900" marR="3683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AutoNum type="arabicPeriod"/>
                      </a:pPr>
                      <a:r>
                        <a:rPr lang="ru-RU" sz="1400" b="1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Сведения о средней списочной численности работников организации за 2019 год</a:t>
                      </a:r>
                      <a:r>
                        <a:rPr lang="ru-RU" sz="1400" b="1" baseline="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(с отметкой о получении ФНС) – представляется в ФНС 1 раз в год</a:t>
                      </a:r>
                      <a:endParaRPr lang="ru-RU" sz="1400" b="1" dirty="0" smtClean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  <a:p>
                      <a:pPr marL="342900" marR="3683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AutoNum type="arabicPeriod"/>
                      </a:pPr>
                      <a:endParaRPr lang="ru-RU" sz="1400" b="1" dirty="0" smtClean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  <a:p>
                      <a:pPr marL="342900" marR="3683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AutoNum type="arabicPeriod"/>
                      </a:pPr>
                      <a:r>
                        <a:rPr lang="ru-RU" sz="1400" b="1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Штатное расписание по форме №Т-3 (актуальное по состоянию на дату обращения в Банк с заявкой).</a:t>
                      </a:r>
                    </a:p>
                    <a:p>
                      <a:pPr marL="342900" marR="3683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AutoNum type="arabicPeriod"/>
                      </a:pPr>
                      <a:endParaRPr lang="ru-RU" sz="1400" b="1" dirty="0" smtClean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  <a:p>
                      <a:pPr marL="342900" marR="36830" indent="-342900" algn="l">
                        <a:lnSpc>
                          <a:spcPct val="115000"/>
                        </a:lnSpc>
                        <a:spcAft>
                          <a:spcPts val="0"/>
                        </a:spcAft>
                        <a:buAutoNum type="arabicPeriod"/>
                      </a:pPr>
                      <a:r>
                        <a:rPr lang="ru-RU" sz="1400" b="1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Сведения/отчет о застрахованных лицах по форме СЗВ-М, поданные в Пенсионный фонд Российской Федерации</a:t>
                      </a:r>
                      <a:r>
                        <a:rPr lang="ru-RU" sz="1400" b="1" baseline="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(с отметкой о получении ПФР)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3683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Официальные данные:</a:t>
                      </a:r>
                    </a:p>
                    <a:p>
                      <a:pPr marL="0" marR="3683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1.1. Сведения о застрахованных лицах, поданные Клиентом в ПФР  (с отметкой о получении ПФР)</a:t>
                      </a:r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– представляется ежемесячно не позднее 20-го числа </a:t>
                      </a:r>
                      <a:endParaRPr lang="ru-RU" sz="1400" b="1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  <a:p>
                      <a:pPr marL="0" marR="36830" indent="0" algn="l" defTabSz="128016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  <a:p>
                      <a:pPr marL="0" marR="3683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. Данные Клиентами:</a:t>
                      </a:r>
                    </a:p>
                    <a:p>
                      <a:pPr marL="0" marR="36830" indent="0" algn="l" defTabSz="128016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.1. Зарплатная ведомость по форме Т-49/Т-51/Т-53</a:t>
                      </a:r>
                    </a:p>
                    <a:p>
                      <a:pPr marL="0" marR="36830" indent="0" algn="l" defTabSz="128016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(представляется на каждую выдачу).</a:t>
                      </a:r>
                    </a:p>
                    <a:p>
                      <a:pPr marL="0" marR="3683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.2. Информация клиента (</a:t>
                      </a:r>
                      <a:r>
                        <a:rPr lang="ru-RU" sz="1400" b="1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факт.численность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работников, которым выплачивается зарплата, период, за который выплачивается зарплата, количество </a:t>
                      </a:r>
                      <a:r>
                        <a:rPr lang="ru-RU" sz="1400" b="1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факт.отработанных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каждым работником дней) - справка Клиента на дату выдачи кредитных средств (транша) для выплаты зарплаты, а также расчет суммы кредита в соответствии с условиями Банка (на каждую выдачу)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0487413" y="264096"/>
            <a:ext cx="18788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Aft>
                <a:spcPts val="300"/>
              </a:spcAft>
            </a:pP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1400" b="1" dirty="0">
              <a:solidFill>
                <a:schemeClr val="bg2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596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5520" y="748155"/>
            <a:ext cx="7665480" cy="887520"/>
          </a:xfrm>
        </p:spPr>
        <p:txBody>
          <a:bodyPr>
            <a:noAutofit/>
          </a:bodyPr>
          <a:lstStyle/>
          <a:p>
            <a:pPr algn="l"/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чень отраслей российской экономики, наиболее пострадавших в условиях ухудшения ситуации в результате распространения новой </a:t>
            </a:r>
            <a:r>
              <a:rPr lang="ru-RU" sz="1800" b="1" dirty="0" err="1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онавирусной</a:t>
            </a:r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нфекц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8</a:t>
            </a:fld>
            <a:endParaRPr lang="en-US" dirty="0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535520" y="1776264"/>
            <a:ext cx="7521464" cy="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/>
        </p:nvGrpSpPr>
        <p:grpSpPr>
          <a:xfrm>
            <a:off x="8493750" y="2352328"/>
            <a:ext cx="3987325" cy="2232248"/>
            <a:chOff x="7899410" y="2154217"/>
            <a:chExt cx="3714994" cy="1949490"/>
          </a:xfrm>
        </p:grpSpPr>
        <p:sp>
          <p:nvSpPr>
            <p:cNvPr id="18" name="Скругленный прямоугольник 17"/>
            <p:cNvSpPr/>
            <p:nvPr/>
          </p:nvSpPr>
          <p:spPr>
            <a:xfrm>
              <a:off x="7899410" y="2154217"/>
              <a:ext cx="3714994" cy="1949490"/>
            </a:xfrm>
            <a:prstGeom prst="roundRect">
              <a:avLst>
                <a:gd name="adj" fmla="val 10000"/>
              </a:avLst>
            </a:prstGeom>
            <a:ln w="3175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rgbClr r="0" g="0" b="0"/>
            </a:lnRef>
            <a:fillRef idx="1">
              <a:schemeClr val="accent3">
                <a:alpha val="7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alpha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Скругленный прямоугольник 4"/>
            <p:cNvSpPr txBox="1"/>
            <p:nvPr/>
          </p:nvSpPr>
          <p:spPr>
            <a:xfrm>
              <a:off x="7956509" y="2211316"/>
              <a:ext cx="3600796" cy="183529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lvl="0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становление Правительства РФ от 03.04.2020 № 434 «Об утверждении перечня отраслей российской экономики, в наибольшей степени пострадавших в условиях ухудшения ситуации в результате распространения новой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ронавирусной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инфекции»</a:t>
              </a: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10487413" y="264096"/>
            <a:ext cx="18788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Aft>
                <a:spcPts val="300"/>
              </a:spcAft>
            </a:pP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14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1" name="Скругленный прямоугольник 47">
            <a:extLst>
              <a:ext uri="{FF2B5EF4-FFF2-40B4-BE49-F238E27FC236}">
                <a16:creationId xmlns:a16="http://schemas.microsoft.com/office/drawing/2014/main" id="{1EA6826B-70F2-4F43-8B4E-770CB7AFA446}"/>
              </a:ext>
            </a:extLst>
          </p:cNvPr>
          <p:cNvSpPr/>
          <p:nvPr/>
        </p:nvSpPr>
        <p:spPr>
          <a:xfrm>
            <a:off x="550836" y="1848272"/>
            <a:ext cx="7521464" cy="332398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>
            <a:spAutoFit/>
          </a:bodyPr>
          <a:lstStyle/>
          <a:p>
            <a:pPr lvl="0" defTabSz="914400">
              <a:defRPr/>
            </a:pPr>
            <a:r>
              <a:rPr lang="ru-RU" sz="135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Авиаперевозки, аэропортовая деятельность, автоперевозки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35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прочего сухопутного пассажирского транспорта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35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автомобильного грузового транспорта и услуги по перевозкам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35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пассажирского воздушного транспорта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35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грузового воздушного транспорта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35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автовокзалов и автостанций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35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вспомогательная, связанная с воздушным транспортом</a:t>
            </a:r>
          </a:p>
          <a:p>
            <a:pPr lvl="0" defTabSz="914400">
              <a:defRPr/>
            </a:pPr>
            <a:r>
              <a:rPr lang="ru-RU" sz="135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Культура, организация досуга и развлечений</a:t>
            </a:r>
          </a:p>
          <a:p>
            <a:pPr marL="54000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35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творческая, деятельность в области искусства и организации развлечений</a:t>
            </a:r>
          </a:p>
          <a:p>
            <a:pPr marL="54000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35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в области демонстрации кинофильмов</a:t>
            </a:r>
          </a:p>
          <a:p>
            <a:pPr marL="36000" defTabSz="914400">
              <a:defRPr/>
            </a:pPr>
            <a:r>
              <a:rPr lang="ru-RU" sz="135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Физкультурно-оздоровительная деятельность и спорт</a:t>
            </a:r>
          </a:p>
          <a:p>
            <a:pPr marL="54000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35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в области спорта, отдыха и развлечений</a:t>
            </a:r>
          </a:p>
          <a:p>
            <a:pPr marL="54000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35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физкультурно-оздоровительная</a:t>
            </a:r>
          </a:p>
          <a:p>
            <a:pPr marL="54000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35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санаторно-курортных организаций</a:t>
            </a:r>
          </a:p>
        </p:txBody>
      </p:sp>
      <p:sp>
        <p:nvSpPr>
          <p:cNvPr id="12" name="Скругленный прямоугольник 47">
            <a:extLst>
              <a:ext uri="{FF2B5EF4-FFF2-40B4-BE49-F238E27FC236}">
                <a16:creationId xmlns:a16="http://schemas.microsoft.com/office/drawing/2014/main" id="{7540778F-FBD2-4A1D-8C99-A9D782FBA556}"/>
              </a:ext>
            </a:extLst>
          </p:cNvPr>
          <p:cNvSpPr/>
          <p:nvPr/>
        </p:nvSpPr>
        <p:spPr>
          <a:xfrm>
            <a:off x="517337" y="4953048"/>
            <a:ext cx="11773302" cy="418576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>
            <a:spAutoFit/>
          </a:bodyPr>
          <a:lstStyle/>
          <a:p>
            <a:pPr lvl="0" defTabSz="914400">
              <a:defRPr/>
            </a:pPr>
            <a:r>
              <a:rPr lang="ru-RU" sz="135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Деятельность туристических агентств и прочих организаций, предоставляющих услуги в сфере туризма</a:t>
            </a:r>
          </a:p>
          <a:p>
            <a:pPr marL="54000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35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туристических агентств и прочих организаций, предоставляющих услуги в сфере туризма</a:t>
            </a:r>
          </a:p>
          <a:p>
            <a:pPr lvl="0" defTabSz="914400">
              <a:defRPr/>
            </a:pPr>
            <a:r>
              <a:rPr lang="ru-RU" sz="135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 Гостиничный бизнес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35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по предоставлению мест для временного проживания</a:t>
            </a:r>
          </a:p>
          <a:p>
            <a:pPr lvl="0" defTabSz="914400">
              <a:defRPr/>
            </a:pPr>
            <a:r>
              <a:rPr lang="ru-RU" sz="135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. Общественное питание</a:t>
            </a:r>
          </a:p>
          <a:p>
            <a:pPr marL="54000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35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по предоставлению продуктов питания и напитков</a:t>
            </a:r>
          </a:p>
          <a:p>
            <a:pPr lvl="0" defTabSz="914400">
              <a:defRPr/>
            </a:pPr>
            <a:r>
              <a:rPr lang="ru-RU" sz="135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. Деятельность организаций дополнительного образования, негосударственных образовательных учреждений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35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зование дополнительное детей и взрослых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35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ение услуг по дневному уходу за детьми</a:t>
            </a:r>
          </a:p>
          <a:p>
            <a:pPr lvl="0" defTabSz="914400">
              <a:defRPr/>
            </a:pPr>
            <a:r>
              <a:rPr lang="ru-RU" sz="135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. Деятельность по организации конференций и выставок</a:t>
            </a:r>
          </a:p>
          <a:p>
            <a:pPr marL="54000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35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по организации конференций и выставок</a:t>
            </a:r>
          </a:p>
          <a:p>
            <a:pPr lvl="0" defTabSz="914400">
              <a:defRPr/>
            </a:pPr>
            <a:r>
              <a:rPr lang="ru-RU" sz="135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9. Деятельность по предоставлению бытовых услуг населению (ремонт, стирка, химчистка, услуги парикмахерских и салонов красоты)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35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монт компьютеров, предметов личного потребления и хозяйственно-бытового назначения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35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ирка и химическая чистка текстильных и меховых изделий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35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ение услуг парикмахерскими и салонами красоты</a:t>
            </a:r>
          </a:p>
          <a:p>
            <a:pPr lvl="0" defTabSz="914400">
              <a:defRPr/>
            </a:pPr>
            <a:r>
              <a:rPr lang="ru-RU" sz="135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. Деятельность в области здравоохранения</a:t>
            </a:r>
          </a:p>
          <a:p>
            <a:pPr marL="54000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35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матологическая практика</a:t>
            </a:r>
          </a:p>
          <a:p>
            <a:pPr marL="36000" defTabSz="914400">
              <a:defRPr/>
            </a:pPr>
            <a:r>
              <a:rPr lang="ru-RU" sz="135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. Розничная торговля непродовольственными товарами (в проекте)</a:t>
            </a:r>
          </a:p>
        </p:txBody>
      </p:sp>
    </p:spTree>
    <p:extLst>
      <p:ext uri="{BB962C8B-B14F-4D97-AF65-F5344CB8AC3E}">
        <p14:creationId xmlns:p14="http://schemas.microsoft.com/office/powerpoint/2010/main" val="2458766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MdboPxqmxk9sWjSYEk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oGcoftxcLxfaN2KO4h6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Firm Format - template_Blue">
  <a:themeElements>
    <a:clrScheme name="РСБ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33333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noFill/>
        </a:ln>
      </a:spPr>
      <a:bodyPr rtlCol="0" anchor="ctr"/>
      <a:lstStyle>
        <a:defPPr algn="l">
          <a:defRPr sz="16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УГМК">
        <a:dk1>
          <a:srgbClr val="000000"/>
        </a:dk1>
        <a:lt1>
          <a:srgbClr val="FFFFFF"/>
        </a:lt1>
        <a:dk2>
          <a:srgbClr val="565C6C"/>
        </a:dk2>
        <a:lt2>
          <a:srgbClr val="DBEFF9"/>
        </a:lt2>
        <a:accent1>
          <a:srgbClr val="DCE2EC"/>
        </a:accent1>
        <a:accent2>
          <a:srgbClr val="003EAB"/>
        </a:accent2>
        <a:accent3>
          <a:srgbClr val="009DE2"/>
        </a:accent3>
        <a:accent4>
          <a:srgbClr val="565C6C"/>
        </a:accent4>
        <a:accent5>
          <a:srgbClr val="FF7675"/>
        </a:accent5>
        <a:accent6>
          <a:srgbClr val="C8BCC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РоссельхозБанк (RSHB) 4x3.potx" id="{71569C02-40C5-4F2D-ADBB-DC173588E1BF}" vid="{C5B0BF87-2EF8-46AB-9EA0-C4F2E2C11BC1}"/>
    </a:ext>
  </a:extLst>
</a:theme>
</file>

<file path=ppt/theme/theme3.xml><?xml version="1.0" encoding="utf-8"?>
<a:theme xmlns:a="http://schemas.openxmlformats.org/drawingml/2006/main" name="1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SHB_Template_(4x3)_РСХБ_Россельхозбанк.potx" id="{7E1B7E84-3B52-4B0E-BD93-C3CF05B086E6}" vid="{0E36FA6A-9B1B-4934-9176-EA77B10C6358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52950336B55544FA3AA4EFF86A9371E" ma:contentTypeVersion="0" ma:contentTypeDescription="Создание документа." ma:contentTypeScope="" ma:versionID="da2feb1ccafde869f4100c777494835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100E8B3-183E-49CC-945D-027EE99C3A7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AD3C239-E39E-431C-A4F6-72056D93658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EE8A5796-0647-4C33-BF70-F81F121AAFB9}">
  <ds:schemaRefs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purl.org/dc/terms/"/>
    <ds:schemaRef ds:uri="http://purl.org/dc/dcmitype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65941</TotalTime>
  <Words>1139</Words>
  <Application>Microsoft Office PowerPoint</Application>
  <PresentationFormat>A3 (297x420 мм)</PresentationFormat>
  <Paragraphs>125</Paragraphs>
  <Slides>8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7" baseType="lpstr">
      <vt:lpstr>Arial</vt:lpstr>
      <vt:lpstr>Calibri</vt:lpstr>
      <vt:lpstr>Courier New</vt:lpstr>
      <vt:lpstr>Times New Roman</vt:lpstr>
      <vt:lpstr>Wingdings</vt:lpstr>
      <vt:lpstr>Тема Office</vt:lpstr>
      <vt:lpstr>Firm Format - template_Blue</vt:lpstr>
      <vt:lpstr>1_RSHB</vt:lpstr>
      <vt:lpstr>think-cell Slide</vt:lpstr>
      <vt:lpstr>О льготном кредитовании для  поддержания и сохранения занятости в соответствии с постановлением Правительства РФ от 02.04.2020 № 422</vt:lpstr>
      <vt:lpstr>Новый механизм господдержки в рамках Постановления Правительства от 02.04.2020 № 422 </vt:lpstr>
      <vt:lpstr>Основные параметры Постановления Правительства РФ  от 02.04.2020 № 422 по льготному кредитованию </vt:lpstr>
      <vt:lpstr>Основные параметры льготного кредитования Банка с учетом Постановления Правительства от 02.04.2020 № 422</vt:lpstr>
      <vt:lpstr>ПРИЛОЖЕНИЯ</vt:lpstr>
      <vt:lpstr>Требования к обеспечению сделки при кредитовании в рамках постановления № 422</vt:lpstr>
      <vt:lpstr>Документы, предоставляемые для контроля численности работников Клиента при кредитовании в рамках постановления № 422</vt:lpstr>
      <vt:lpstr>Перечень отраслей российской экономики, наиболее пострадавших в условиях ухудшения ситуации в результате распространения новой коронавирусной инфекции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айгелова Жанна Урынбасаровна</dc:creator>
  <cp:lastModifiedBy>Чениб Бэлла Руслановна</cp:lastModifiedBy>
  <cp:revision>2263</cp:revision>
  <cp:lastPrinted>2020-07-17T12:09:55Z</cp:lastPrinted>
  <dcterms:created xsi:type="dcterms:W3CDTF">2017-07-11T13:13:02Z</dcterms:created>
  <dcterms:modified xsi:type="dcterms:W3CDTF">2020-07-21T07:40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2950336B55544FA3AA4EFF86A9371E</vt:lpwstr>
  </property>
</Properties>
</file>